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25" r:id="rId1"/>
  </p:sldMasterIdLst>
  <p:notesMasterIdLst>
    <p:notesMasterId r:id="rId34"/>
  </p:notesMasterIdLst>
  <p:handoutMasterIdLst>
    <p:handoutMasterId r:id="rId35"/>
  </p:handoutMasterIdLst>
  <p:sldIdLst>
    <p:sldId id="256" r:id="rId2"/>
    <p:sldId id="263" r:id="rId3"/>
    <p:sldId id="265" r:id="rId4"/>
    <p:sldId id="681" r:id="rId5"/>
    <p:sldId id="686" r:id="rId6"/>
    <p:sldId id="266" r:id="rId7"/>
    <p:sldId id="677" r:id="rId8"/>
    <p:sldId id="439" r:id="rId9"/>
    <p:sldId id="267" r:id="rId10"/>
    <p:sldId id="435" r:id="rId11"/>
    <p:sldId id="264" r:id="rId12"/>
    <p:sldId id="257" r:id="rId13"/>
    <p:sldId id="258" r:id="rId14"/>
    <p:sldId id="682" r:id="rId15"/>
    <p:sldId id="683" r:id="rId16"/>
    <p:sldId id="684" r:id="rId17"/>
    <p:sldId id="685" r:id="rId18"/>
    <p:sldId id="674" r:id="rId19"/>
    <p:sldId id="675" r:id="rId20"/>
    <p:sldId id="687" r:id="rId21"/>
    <p:sldId id="268" r:id="rId22"/>
    <p:sldId id="689" r:id="rId23"/>
    <p:sldId id="690" r:id="rId24"/>
    <p:sldId id="688" r:id="rId25"/>
    <p:sldId id="691" r:id="rId26"/>
    <p:sldId id="692" r:id="rId27"/>
    <p:sldId id="693" r:id="rId28"/>
    <p:sldId id="696" r:id="rId29"/>
    <p:sldId id="269" r:id="rId30"/>
    <p:sldId id="694" r:id="rId31"/>
    <p:sldId id="695" r:id="rId32"/>
    <p:sldId id="673" r:id="rId33"/>
  </p:sldIdLst>
  <p:sldSz cx="12192000" cy="6858000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36E2ED16-91EB-481F-BDB3-2F9A1D156450}">
          <p14:sldIdLst>
            <p14:sldId id="256"/>
            <p14:sldId id="263"/>
          </p14:sldIdLst>
        </p14:section>
        <p14:section name="Motivation" id="{ED7F80F8-62BC-4890-9F68-D954CD8FEE93}">
          <p14:sldIdLst>
            <p14:sldId id="265"/>
            <p14:sldId id="681"/>
            <p14:sldId id="686"/>
          </p14:sldIdLst>
        </p14:section>
        <p14:section name="Research Questions" id="{3147C965-F8A9-4FF3-AFE7-42FB7DA95DFF}">
          <p14:sldIdLst>
            <p14:sldId id="266"/>
            <p14:sldId id="677"/>
            <p14:sldId id="439"/>
          </p14:sldIdLst>
        </p14:section>
        <p14:section name="Methodology" id="{E5996BA3-6522-47BB-841B-842CC5756110}">
          <p14:sldIdLst>
            <p14:sldId id="267"/>
            <p14:sldId id="435"/>
          </p14:sldIdLst>
        </p14:section>
        <p14:section name="Results, Part 1 - Literature Analysis" id="{646A8CBD-28D5-4947-A6B3-B7008D0B8A41}">
          <p14:sldIdLst>
            <p14:sldId id="264"/>
            <p14:sldId id="257"/>
            <p14:sldId id="258"/>
            <p14:sldId id="682"/>
            <p14:sldId id="683"/>
            <p14:sldId id="684"/>
            <p14:sldId id="685"/>
            <p14:sldId id="674"/>
            <p14:sldId id="675"/>
            <p14:sldId id="687"/>
          </p14:sldIdLst>
        </p14:section>
        <p14:section name="Results, Part 2 – Prototype Implementation" id="{8B031CD7-01EA-455A-A740-E3A055F2E19A}">
          <p14:sldIdLst>
            <p14:sldId id="268"/>
            <p14:sldId id="689"/>
            <p14:sldId id="690"/>
            <p14:sldId id="688"/>
            <p14:sldId id="691"/>
            <p14:sldId id="692"/>
            <p14:sldId id="693"/>
            <p14:sldId id="696"/>
          </p14:sldIdLst>
        </p14:section>
        <p14:section name="Conclusion" id="{370FAA23-937D-4878-BA30-4DD32B39239F}">
          <p14:sldIdLst>
            <p14:sldId id="269"/>
            <p14:sldId id="694"/>
            <p14:sldId id="695"/>
            <p14:sldId id="6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64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pos="749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C9E9"/>
    <a:srgbClr val="FF9C43"/>
    <a:srgbClr val="762E28"/>
    <a:srgbClr val="DAD7CB"/>
    <a:srgbClr val="82659E"/>
    <a:srgbClr val="009CC4"/>
    <a:srgbClr val="9BB456"/>
    <a:srgbClr val="3D79B9"/>
    <a:srgbClr val="98C6EA"/>
    <a:srgbClr val="0073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Light Style 2 –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61" autoAdjust="0"/>
    <p:restoredTop sz="65731" autoAdjust="0"/>
  </p:normalViewPr>
  <p:slideViewPr>
    <p:cSldViewPr>
      <p:cViewPr varScale="1">
        <p:scale>
          <a:sx n="75" d="100"/>
          <a:sy n="75" d="100"/>
        </p:scale>
        <p:origin x="1896" y="66"/>
      </p:cViewPr>
      <p:guideLst>
        <p:guide orient="horz" pos="2064"/>
        <p:guide orient="horz" pos="618"/>
        <p:guide orient="horz" pos="4042"/>
        <p:guide pos="7499"/>
        <p:guide pos="211"/>
        <p:guide pos="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132" y="102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-ste\Google%20Drive\Uni\master\sem4\artifacts\results\eval2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-ste\Google%20Drive\Uni\master\sem4\artifacts\results\eval2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-ste\Google%20Drive\Uni\master\sem4\artifacts\results\eval2.xlsx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-ste\Google%20Drive\Uni\master\sem4\artifacts\results\eval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-ste\Google%20Drive\Uni\master\sem4\artifacts\results\eval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-ste\Google%20Drive\Uni\master\sem4\artifacts\results\eval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-ste\Google%20Drive\Uni\master\sem4\artifacts\results\eval2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-ste\Google%20Drive\Uni\master\sem4\artifacts\results\eval2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-ste\Google%20Drive\Uni\master\sem4\artifacts\results\eval2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'Compile Time'!$A$2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/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2:$J$2</c:f>
              <c:numCache>
                <c:formatCode>General</c:formatCode>
                <c:ptCount val="9"/>
                <c:pt idx="0">
                  <c:v>4.827</c:v>
                </c:pt>
                <c:pt idx="1">
                  <c:v>8.2219999999999995</c:v>
                </c:pt>
                <c:pt idx="2">
                  <c:v>12.782</c:v>
                </c:pt>
                <c:pt idx="3">
                  <c:v>20.375</c:v>
                </c:pt>
                <c:pt idx="4">
                  <c:v>32.087000000000003</c:v>
                </c:pt>
                <c:pt idx="5">
                  <c:v>50.357999999999997</c:v>
                </c:pt>
                <c:pt idx="6">
                  <c:v>78.244</c:v>
                </c:pt>
                <c:pt idx="7">
                  <c:v>126.003</c:v>
                </c:pt>
                <c:pt idx="8">
                  <c:v>182.96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48-48F9-8EFE-9A513C72AC15}"/>
            </c:ext>
          </c:extLst>
        </c:ser>
        <c:ser>
          <c:idx val="1"/>
          <c:order val="1"/>
          <c:tx>
            <c:strRef>
              <c:f>'Compile Time'!$A$3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2"/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3:$J$3</c:f>
              <c:numCache>
                <c:formatCode>General</c:formatCode>
                <c:ptCount val="9"/>
                <c:pt idx="0">
                  <c:v>8.7449999999999992</c:v>
                </c:pt>
                <c:pt idx="1">
                  <c:v>14.553000000000001</c:v>
                </c:pt>
                <c:pt idx="2">
                  <c:v>23.363</c:v>
                </c:pt>
                <c:pt idx="3">
                  <c:v>36.991999999999997</c:v>
                </c:pt>
                <c:pt idx="4">
                  <c:v>61.572000000000003</c:v>
                </c:pt>
                <c:pt idx="5">
                  <c:v>91.674000000000007</c:v>
                </c:pt>
                <c:pt idx="6">
                  <c:v>141.58199999999999</c:v>
                </c:pt>
                <c:pt idx="7">
                  <c:v>216.39</c:v>
                </c:pt>
                <c:pt idx="8">
                  <c:v>336.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48-48F9-8EFE-9A513C72AC15}"/>
            </c:ext>
          </c:extLst>
        </c:ser>
        <c:ser>
          <c:idx val="2"/>
          <c:order val="2"/>
          <c:tx>
            <c:strRef>
              <c:f>'Compile Time'!$A$4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3"/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4:$J$4</c:f>
              <c:numCache>
                <c:formatCode>General</c:formatCode>
                <c:ptCount val="9"/>
                <c:pt idx="0">
                  <c:v>14.1</c:v>
                </c:pt>
                <c:pt idx="1">
                  <c:v>23.248999999999999</c:v>
                </c:pt>
                <c:pt idx="2">
                  <c:v>36.865000000000002</c:v>
                </c:pt>
                <c:pt idx="3">
                  <c:v>59.143999999999998</c:v>
                </c:pt>
                <c:pt idx="4">
                  <c:v>94.888000000000005</c:v>
                </c:pt>
                <c:pt idx="5">
                  <c:v>146.39599999999999</c:v>
                </c:pt>
                <c:pt idx="6">
                  <c:v>224.74600000000001</c:v>
                </c:pt>
                <c:pt idx="7">
                  <c:v>346.74900000000002</c:v>
                </c:pt>
                <c:pt idx="8">
                  <c:v>524.35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48-48F9-8EFE-9A513C72AC15}"/>
            </c:ext>
          </c:extLst>
        </c:ser>
        <c:ser>
          <c:idx val="3"/>
          <c:order val="3"/>
          <c:tx>
            <c:strRef>
              <c:f>'Compile Time'!$A$5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4"/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5:$J$5</c:f>
              <c:numCache>
                <c:formatCode>General</c:formatCode>
                <c:ptCount val="9"/>
                <c:pt idx="0">
                  <c:v>20.309000000000001</c:v>
                </c:pt>
                <c:pt idx="1">
                  <c:v>33.881</c:v>
                </c:pt>
                <c:pt idx="2">
                  <c:v>55.317</c:v>
                </c:pt>
                <c:pt idx="3">
                  <c:v>88.926000000000002</c:v>
                </c:pt>
                <c:pt idx="4">
                  <c:v>140.52799999999999</c:v>
                </c:pt>
                <c:pt idx="5">
                  <c:v>216.41</c:v>
                </c:pt>
                <c:pt idx="6">
                  <c:v>330.86900000000003</c:v>
                </c:pt>
                <c:pt idx="7">
                  <c:v>516.947</c:v>
                </c:pt>
                <c:pt idx="8">
                  <c:v>779.346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48-48F9-8EFE-9A513C72AC15}"/>
            </c:ext>
          </c:extLst>
        </c:ser>
        <c:ser>
          <c:idx val="4"/>
          <c:order val="4"/>
          <c:tx>
            <c:strRef>
              <c:f>'Compile Time'!$A$6</c:f>
              <c:strCache>
                <c:ptCount val="1"/>
                <c:pt idx="0">
                  <c:v>6</c:v>
                </c:pt>
              </c:strCache>
            </c:strRef>
          </c:tx>
          <c:spPr>
            <a:solidFill>
              <a:schemeClr val="accent5"/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6:$J$6</c:f>
              <c:numCache>
                <c:formatCode>General</c:formatCode>
                <c:ptCount val="9"/>
                <c:pt idx="0">
                  <c:v>28.125</c:v>
                </c:pt>
                <c:pt idx="1">
                  <c:v>50.088000000000001</c:v>
                </c:pt>
                <c:pt idx="2">
                  <c:v>76.409000000000006</c:v>
                </c:pt>
                <c:pt idx="3">
                  <c:v>123.78100000000001</c:v>
                </c:pt>
                <c:pt idx="4">
                  <c:v>196.83699999999999</c:v>
                </c:pt>
                <c:pt idx="5">
                  <c:v>307.14299999999997</c:v>
                </c:pt>
                <c:pt idx="6">
                  <c:v>476.94600000000003</c:v>
                </c:pt>
                <c:pt idx="7">
                  <c:v>729.60199999999998</c:v>
                </c:pt>
                <c:pt idx="8">
                  <c:v>1110.94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48-48F9-8EFE-9A513C72AC15}"/>
            </c:ext>
          </c:extLst>
        </c:ser>
        <c:ser>
          <c:idx val="5"/>
          <c:order val="5"/>
          <c:tx>
            <c:strRef>
              <c:f>'Compile Time'!$A$7</c:f>
              <c:strCache>
                <c:ptCount val="1"/>
                <c:pt idx="0">
                  <c:v>7</c:v>
                </c:pt>
              </c:strCache>
            </c:strRef>
          </c:tx>
          <c:spPr>
            <a:solidFill>
              <a:schemeClr val="accent6"/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7:$J$7</c:f>
              <c:numCache>
                <c:formatCode>General</c:formatCode>
                <c:ptCount val="9"/>
                <c:pt idx="0">
                  <c:v>38.097000000000001</c:v>
                </c:pt>
                <c:pt idx="1">
                  <c:v>63.965000000000003</c:v>
                </c:pt>
                <c:pt idx="2">
                  <c:v>104.857</c:v>
                </c:pt>
                <c:pt idx="3">
                  <c:v>167.42699999999999</c:v>
                </c:pt>
                <c:pt idx="4">
                  <c:v>267.31299999999999</c:v>
                </c:pt>
                <c:pt idx="5">
                  <c:v>423.108</c:v>
                </c:pt>
                <c:pt idx="6">
                  <c:v>657.04499999999996</c:v>
                </c:pt>
                <c:pt idx="7">
                  <c:v>999.71500000000003</c:v>
                </c:pt>
                <c:pt idx="8">
                  <c:v>1494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648-48F9-8EFE-9A513C72AC15}"/>
            </c:ext>
          </c:extLst>
        </c:ser>
        <c:ser>
          <c:idx val="6"/>
          <c:order val="6"/>
          <c:tx>
            <c:strRef>
              <c:f>'Compile Time'!$A$8</c:f>
              <c:strCache>
                <c:ptCount val="1"/>
                <c:pt idx="0">
                  <c:v>8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8:$J$8</c:f>
              <c:numCache>
                <c:formatCode>General</c:formatCode>
                <c:ptCount val="9"/>
                <c:pt idx="0">
                  <c:v>49.923999999999999</c:v>
                </c:pt>
                <c:pt idx="1">
                  <c:v>84.024000000000001</c:v>
                </c:pt>
                <c:pt idx="2">
                  <c:v>139.53700000000001</c:v>
                </c:pt>
                <c:pt idx="3">
                  <c:v>225.506</c:v>
                </c:pt>
                <c:pt idx="4">
                  <c:v>357.774</c:v>
                </c:pt>
                <c:pt idx="5">
                  <c:v>565.67600000000004</c:v>
                </c:pt>
                <c:pt idx="6">
                  <c:v>867.31399999999996</c:v>
                </c:pt>
                <c:pt idx="7">
                  <c:v>1333.1220000000001</c:v>
                </c:pt>
                <c:pt idx="8">
                  <c:v>1981.55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648-48F9-8EFE-9A513C72AC15}"/>
            </c:ext>
          </c:extLst>
        </c:ser>
        <c:ser>
          <c:idx val="7"/>
          <c:order val="7"/>
          <c:tx>
            <c:strRef>
              <c:f>'Compile Time'!$A$9</c:f>
              <c:strCache>
                <c:ptCount val="1"/>
                <c:pt idx="0">
                  <c:v>9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9:$J$9</c:f>
              <c:numCache>
                <c:formatCode>General</c:formatCode>
                <c:ptCount val="9"/>
                <c:pt idx="0">
                  <c:v>63.603999999999999</c:v>
                </c:pt>
                <c:pt idx="1">
                  <c:v>108.148</c:v>
                </c:pt>
                <c:pt idx="2">
                  <c:v>179.99299999999999</c:v>
                </c:pt>
                <c:pt idx="3">
                  <c:v>290.21300000000002</c:v>
                </c:pt>
                <c:pt idx="4">
                  <c:v>467.34199999999998</c:v>
                </c:pt>
                <c:pt idx="5">
                  <c:v>738.33100000000002</c:v>
                </c:pt>
                <c:pt idx="6">
                  <c:v>1133.106</c:v>
                </c:pt>
                <c:pt idx="7">
                  <c:v>1733.4849999999999</c:v>
                </c:pt>
                <c:pt idx="8">
                  <c:v>2537.222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648-48F9-8EFE-9A513C72AC15}"/>
            </c:ext>
          </c:extLst>
        </c:ser>
        <c:ser>
          <c:idx val="8"/>
          <c:order val="8"/>
          <c:tx>
            <c:strRef>
              <c:f>'Compile Time'!$A$10</c:f>
              <c:strCache>
                <c:ptCount val="1"/>
                <c:pt idx="0">
                  <c:v>10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/>
            <a:effectLst/>
            <a:sp3d/>
          </c:spP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10:$J$10</c:f>
              <c:numCache>
                <c:formatCode>General</c:formatCode>
                <c:ptCount val="9"/>
                <c:pt idx="0">
                  <c:v>79.364000000000004</c:v>
                </c:pt>
                <c:pt idx="1">
                  <c:v>137.12700000000001</c:v>
                </c:pt>
                <c:pt idx="2">
                  <c:v>228.01499999999999</c:v>
                </c:pt>
                <c:pt idx="3">
                  <c:v>371.65</c:v>
                </c:pt>
                <c:pt idx="4">
                  <c:v>594.08799999999997</c:v>
                </c:pt>
                <c:pt idx="5">
                  <c:v>937.60599999999999</c:v>
                </c:pt>
                <c:pt idx="6">
                  <c:v>1459.4469999999999</c:v>
                </c:pt>
                <c:pt idx="7">
                  <c:v>2218.4749999999999</c:v>
                </c:pt>
                <c:pt idx="8">
                  <c:v>3261.12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48-48F9-8EFE-9A513C72AC15}"/>
            </c:ext>
          </c:extLst>
        </c:ser>
        <c:bandFmts>
          <c:bandFmt>
            <c:idx val="0"/>
            <c:spPr>
              <a:solidFill>
                <a:schemeClr val="accent1"/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2"/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3"/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4"/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5"/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6"/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1">
                  <a:lumMod val="60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2">
                  <a:lumMod val="60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3">
                  <a:lumMod val="60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4">
                  <a:lumMod val="60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5">
                  <a:lumMod val="6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6">
                  <a:lumMod val="60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1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2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3">
                  <a:lumMod val="80000"/>
                  <a:lumOff val="20000"/>
                </a:schemeClr>
              </a:solidFill>
              <a:ln/>
              <a:effectLst/>
              <a:sp3d/>
            </c:spPr>
          </c:bandFmt>
        </c:bandFmts>
        <c:axId val="494392655"/>
        <c:axId val="236545903"/>
        <c:axId val="302973839"/>
      </c:surface3DChart>
      <c:catAx>
        <c:axId val="4943926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Variab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545903"/>
        <c:crosses val="autoZero"/>
        <c:auto val="1"/>
        <c:lblAlgn val="ctr"/>
        <c:lblOffset val="100"/>
        <c:noMultiLvlLbl val="0"/>
      </c:catAx>
      <c:valAx>
        <c:axId val="236545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mpile Time (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392655"/>
        <c:crosses val="autoZero"/>
        <c:crossBetween val="midCat"/>
      </c:valAx>
      <c:serAx>
        <c:axId val="3029738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ndi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545903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'Compute Time'!$A$2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/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2:$J$2</c:f>
              <c:numCache>
                <c:formatCode>General</c:formatCode>
                <c:ptCount val="9"/>
                <c:pt idx="0">
                  <c:v>1.3740000000000001</c:v>
                </c:pt>
                <c:pt idx="1">
                  <c:v>1.9650000000000001</c:v>
                </c:pt>
                <c:pt idx="2">
                  <c:v>2.661</c:v>
                </c:pt>
                <c:pt idx="3">
                  <c:v>3.6120000000000001</c:v>
                </c:pt>
                <c:pt idx="4">
                  <c:v>4.6369999999999996</c:v>
                </c:pt>
                <c:pt idx="5">
                  <c:v>5.7160000000000002</c:v>
                </c:pt>
                <c:pt idx="6">
                  <c:v>7.0830000000000002</c:v>
                </c:pt>
                <c:pt idx="7">
                  <c:v>8.5220000000000002</c:v>
                </c:pt>
                <c:pt idx="8">
                  <c:v>1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BE-42FE-93C8-6C110AF5345C}"/>
            </c:ext>
          </c:extLst>
        </c:ser>
        <c:ser>
          <c:idx val="1"/>
          <c:order val="1"/>
          <c:tx>
            <c:strRef>
              <c:f>'Compute Time'!$A$3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2"/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3:$J$3</c:f>
              <c:numCache>
                <c:formatCode>General</c:formatCode>
                <c:ptCount val="9"/>
                <c:pt idx="0">
                  <c:v>2.35</c:v>
                </c:pt>
                <c:pt idx="1">
                  <c:v>3.395</c:v>
                </c:pt>
                <c:pt idx="2">
                  <c:v>4.665</c:v>
                </c:pt>
                <c:pt idx="3">
                  <c:v>5.976</c:v>
                </c:pt>
                <c:pt idx="4">
                  <c:v>7.6029999999999998</c:v>
                </c:pt>
                <c:pt idx="5">
                  <c:v>9.4809999999999999</c:v>
                </c:pt>
                <c:pt idx="6">
                  <c:v>11.381</c:v>
                </c:pt>
                <c:pt idx="7">
                  <c:v>14.483000000000001</c:v>
                </c:pt>
                <c:pt idx="8">
                  <c:v>16.65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BE-42FE-93C8-6C110AF5345C}"/>
            </c:ext>
          </c:extLst>
        </c:ser>
        <c:ser>
          <c:idx val="2"/>
          <c:order val="2"/>
          <c:tx>
            <c:strRef>
              <c:f>'Compute Time'!$A$4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3"/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4:$J$4</c:f>
              <c:numCache>
                <c:formatCode>General</c:formatCode>
                <c:ptCount val="9"/>
                <c:pt idx="0">
                  <c:v>3.605</c:v>
                </c:pt>
                <c:pt idx="1">
                  <c:v>5.0709999999999997</c:v>
                </c:pt>
                <c:pt idx="2">
                  <c:v>6.7640000000000002</c:v>
                </c:pt>
                <c:pt idx="3">
                  <c:v>8.7799999999999994</c:v>
                </c:pt>
                <c:pt idx="4">
                  <c:v>11.010999999999999</c:v>
                </c:pt>
                <c:pt idx="5">
                  <c:v>13.506</c:v>
                </c:pt>
                <c:pt idx="6">
                  <c:v>17.102</c:v>
                </c:pt>
                <c:pt idx="7">
                  <c:v>20.190999999999999</c:v>
                </c:pt>
                <c:pt idx="8">
                  <c:v>24.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BE-42FE-93C8-6C110AF5345C}"/>
            </c:ext>
          </c:extLst>
        </c:ser>
        <c:ser>
          <c:idx val="3"/>
          <c:order val="3"/>
          <c:tx>
            <c:strRef>
              <c:f>'Compute Time'!$A$5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4"/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5:$J$5</c:f>
              <c:numCache>
                <c:formatCode>General</c:formatCode>
                <c:ptCount val="9"/>
                <c:pt idx="0">
                  <c:v>5.0839999999999996</c:v>
                </c:pt>
                <c:pt idx="1">
                  <c:v>7.0990000000000002</c:v>
                </c:pt>
                <c:pt idx="2">
                  <c:v>9.282</c:v>
                </c:pt>
                <c:pt idx="3">
                  <c:v>11.911</c:v>
                </c:pt>
                <c:pt idx="4">
                  <c:v>15.087999999999999</c:v>
                </c:pt>
                <c:pt idx="5">
                  <c:v>18.422000000000001</c:v>
                </c:pt>
                <c:pt idx="6">
                  <c:v>22.422999999999998</c:v>
                </c:pt>
                <c:pt idx="7">
                  <c:v>26.501999999999999</c:v>
                </c:pt>
                <c:pt idx="8">
                  <c:v>31.771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BE-42FE-93C8-6C110AF5345C}"/>
            </c:ext>
          </c:extLst>
        </c:ser>
        <c:ser>
          <c:idx val="4"/>
          <c:order val="4"/>
          <c:tx>
            <c:strRef>
              <c:f>'Compute Time'!$A$6</c:f>
              <c:strCache>
                <c:ptCount val="1"/>
                <c:pt idx="0">
                  <c:v>6</c:v>
                </c:pt>
              </c:strCache>
            </c:strRef>
          </c:tx>
          <c:spPr>
            <a:solidFill>
              <a:schemeClr val="accent5"/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6:$J$6</c:f>
              <c:numCache>
                <c:formatCode>General</c:formatCode>
                <c:ptCount val="9"/>
                <c:pt idx="0">
                  <c:v>6.7130000000000001</c:v>
                </c:pt>
                <c:pt idx="1">
                  <c:v>9.3119999999999994</c:v>
                </c:pt>
                <c:pt idx="2">
                  <c:v>12.381</c:v>
                </c:pt>
                <c:pt idx="3">
                  <c:v>15.638999999999999</c:v>
                </c:pt>
                <c:pt idx="4">
                  <c:v>19.396999999999998</c:v>
                </c:pt>
                <c:pt idx="5">
                  <c:v>23.768000000000001</c:v>
                </c:pt>
                <c:pt idx="6">
                  <c:v>28.942</c:v>
                </c:pt>
                <c:pt idx="7">
                  <c:v>34.402000000000001</c:v>
                </c:pt>
                <c:pt idx="8">
                  <c:v>40.837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BE-42FE-93C8-6C110AF5345C}"/>
            </c:ext>
          </c:extLst>
        </c:ser>
        <c:ser>
          <c:idx val="5"/>
          <c:order val="5"/>
          <c:tx>
            <c:strRef>
              <c:f>'Compute Time'!$A$7</c:f>
              <c:strCache>
                <c:ptCount val="1"/>
                <c:pt idx="0">
                  <c:v>7</c:v>
                </c:pt>
              </c:strCache>
            </c:strRef>
          </c:tx>
          <c:spPr>
            <a:solidFill>
              <a:schemeClr val="accent6"/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7:$J$7</c:f>
              <c:numCache>
                <c:formatCode>General</c:formatCode>
                <c:ptCount val="9"/>
                <c:pt idx="0">
                  <c:v>8.6379999999999999</c:v>
                </c:pt>
                <c:pt idx="1">
                  <c:v>11.897</c:v>
                </c:pt>
                <c:pt idx="2">
                  <c:v>15.635</c:v>
                </c:pt>
                <c:pt idx="3">
                  <c:v>19.803000000000001</c:v>
                </c:pt>
                <c:pt idx="4">
                  <c:v>24.498000000000001</c:v>
                </c:pt>
                <c:pt idx="5">
                  <c:v>30.558</c:v>
                </c:pt>
                <c:pt idx="6">
                  <c:v>36.024999999999999</c:v>
                </c:pt>
                <c:pt idx="7">
                  <c:v>42.859000000000002</c:v>
                </c:pt>
                <c:pt idx="8">
                  <c:v>51.08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BE-42FE-93C8-6C110AF5345C}"/>
            </c:ext>
          </c:extLst>
        </c:ser>
        <c:ser>
          <c:idx val="6"/>
          <c:order val="6"/>
          <c:tx>
            <c:strRef>
              <c:f>'Compute Time'!$A$8</c:f>
              <c:strCache>
                <c:ptCount val="1"/>
                <c:pt idx="0">
                  <c:v>8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8:$J$8</c:f>
              <c:numCache>
                <c:formatCode>General</c:formatCode>
                <c:ptCount val="9"/>
                <c:pt idx="0">
                  <c:v>10.792999999999999</c:v>
                </c:pt>
                <c:pt idx="1">
                  <c:v>14.784000000000001</c:v>
                </c:pt>
                <c:pt idx="2">
                  <c:v>19.329000000000001</c:v>
                </c:pt>
                <c:pt idx="3">
                  <c:v>24.138999999999999</c:v>
                </c:pt>
                <c:pt idx="4">
                  <c:v>29.885000000000002</c:v>
                </c:pt>
                <c:pt idx="5">
                  <c:v>37.197000000000003</c:v>
                </c:pt>
                <c:pt idx="6">
                  <c:v>44.424999999999997</c:v>
                </c:pt>
                <c:pt idx="7">
                  <c:v>52.307000000000002</c:v>
                </c:pt>
                <c:pt idx="8">
                  <c:v>61.875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EBE-42FE-93C8-6C110AF5345C}"/>
            </c:ext>
          </c:extLst>
        </c:ser>
        <c:ser>
          <c:idx val="7"/>
          <c:order val="7"/>
          <c:tx>
            <c:strRef>
              <c:f>'Compute Time'!$A$9</c:f>
              <c:strCache>
                <c:ptCount val="1"/>
                <c:pt idx="0">
                  <c:v>9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9:$J$9</c:f>
              <c:numCache>
                <c:formatCode>General</c:formatCode>
                <c:ptCount val="9"/>
                <c:pt idx="0">
                  <c:v>13.193</c:v>
                </c:pt>
                <c:pt idx="1">
                  <c:v>18.324999999999999</c:v>
                </c:pt>
                <c:pt idx="2">
                  <c:v>23.154</c:v>
                </c:pt>
                <c:pt idx="3">
                  <c:v>28.704000000000001</c:v>
                </c:pt>
                <c:pt idx="4">
                  <c:v>36.018999999999998</c:v>
                </c:pt>
                <c:pt idx="5">
                  <c:v>44.048000000000002</c:v>
                </c:pt>
                <c:pt idx="6">
                  <c:v>53.264000000000003</c:v>
                </c:pt>
                <c:pt idx="7">
                  <c:v>63.643999999999998</c:v>
                </c:pt>
                <c:pt idx="8">
                  <c:v>73.703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BE-42FE-93C8-6C110AF5345C}"/>
            </c:ext>
          </c:extLst>
        </c:ser>
        <c:ser>
          <c:idx val="8"/>
          <c:order val="8"/>
          <c:tx>
            <c:strRef>
              <c:f>'Compute Time'!$A$10</c:f>
              <c:strCache>
                <c:ptCount val="1"/>
                <c:pt idx="0">
                  <c:v>10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/>
            <a:effectLst/>
            <a:sp3d/>
          </c:spP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10:$J$10</c:f>
              <c:numCache>
                <c:formatCode>General</c:formatCode>
                <c:ptCount val="9"/>
                <c:pt idx="0">
                  <c:v>15.782</c:v>
                </c:pt>
                <c:pt idx="1">
                  <c:v>21.204999999999998</c:v>
                </c:pt>
                <c:pt idx="2">
                  <c:v>27.536000000000001</c:v>
                </c:pt>
                <c:pt idx="3">
                  <c:v>34.215000000000003</c:v>
                </c:pt>
                <c:pt idx="4">
                  <c:v>42.805</c:v>
                </c:pt>
                <c:pt idx="5">
                  <c:v>51.597000000000001</c:v>
                </c:pt>
                <c:pt idx="6">
                  <c:v>61.768999999999998</c:v>
                </c:pt>
                <c:pt idx="7">
                  <c:v>72.933999999999997</c:v>
                </c:pt>
                <c:pt idx="8">
                  <c:v>86.736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EBE-42FE-93C8-6C110AF5345C}"/>
            </c:ext>
          </c:extLst>
        </c:ser>
        <c:bandFmts>
          <c:bandFmt>
            <c:idx val="0"/>
            <c:spPr>
              <a:solidFill>
                <a:schemeClr val="accent1"/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2"/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3"/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4"/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5"/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6"/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1">
                  <a:lumMod val="60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2">
                  <a:lumMod val="60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3">
                  <a:lumMod val="60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4">
                  <a:lumMod val="60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5">
                  <a:lumMod val="6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6">
                  <a:lumMod val="60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1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2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3">
                  <a:lumMod val="80000"/>
                  <a:lumOff val="20000"/>
                </a:schemeClr>
              </a:solidFill>
              <a:ln/>
              <a:effectLst/>
              <a:sp3d/>
            </c:spPr>
          </c:bandFmt>
        </c:bandFmts>
        <c:axId val="494392655"/>
        <c:axId val="236545903"/>
        <c:axId val="302973839"/>
      </c:surface3DChart>
      <c:catAx>
        <c:axId val="4943926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baseline="0" dirty="0">
                    <a:effectLst/>
                  </a:rPr>
                  <a:t>Variables</a:t>
                </a:r>
                <a:endParaRPr lang="en-US" sz="133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545903"/>
        <c:crosses val="autoZero"/>
        <c:auto val="1"/>
        <c:lblAlgn val="ctr"/>
        <c:lblOffset val="100"/>
        <c:noMultiLvlLbl val="0"/>
      </c:catAx>
      <c:valAx>
        <c:axId val="236545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mpute Time (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392655"/>
        <c:crosses val="autoZero"/>
        <c:crossBetween val="midCat"/>
      </c:valAx>
      <c:serAx>
        <c:axId val="3029738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ndi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545903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Constraints!$B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/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2:$B$10</c:f>
              <c:numCache>
                <c:formatCode>General</c:formatCode>
                <c:ptCount val="9"/>
                <c:pt idx="0">
                  <c:v>105621</c:v>
                </c:pt>
                <c:pt idx="1">
                  <c:v>187600</c:v>
                </c:pt>
                <c:pt idx="2">
                  <c:v>289881</c:v>
                </c:pt>
                <c:pt idx="3">
                  <c:v>413094</c:v>
                </c:pt>
                <c:pt idx="4">
                  <c:v>557869</c:v>
                </c:pt>
                <c:pt idx="5">
                  <c:v>724836</c:v>
                </c:pt>
                <c:pt idx="6">
                  <c:v>914625</c:v>
                </c:pt>
                <c:pt idx="7">
                  <c:v>1127866</c:v>
                </c:pt>
                <c:pt idx="8">
                  <c:v>1365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31-4509-A234-89498DC12D31}"/>
            </c:ext>
          </c:extLst>
        </c:ser>
        <c:ser>
          <c:idx val="1"/>
          <c:order val="1"/>
          <c:tx>
            <c:strRef>
              <c:f>Constraints!$C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2"/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C$2:$C$10</c:f>
              <c:numCache>
                <c:formatCode>General</c:formatCode>
                <c:ptCount val="9"/>
                <c:pt idx="0">
                  <c:v>159542</c:v>
                </c:pt>
                <c:pt idx="1">
                  <c:v>276623</c:v>
                </c:pt>
                <c:pt idx="2">
                  <c:v>419876</c:v>
                </c:pt>
                <c:pt idx="3">
                  <c:v>590285</c:v>
                </c:pt>
                <c:pt idx="4">
                  <c:v>788834</c:v>
                </c:pt>
                <c:pt idx="5">
                  <c:v>1016507</c:v>
                </c:pt>
                <c:pt idx="6">
                  <c:v>1274288</c:v>
                </c:pt>
                <c:pt idx="7">
                  <c:v>1563161</c:v>
                </c:pt>
                <c:pt idx="8">
                  <c:v>1884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1-4509-A234-89498DC12D31}"/>
            </c:ext>
          </c:extLst>
        </c:ser>
        <c:ser>
          <c:idx val="2"/>
          <c:order val="2"/>
          <c:tx>
            <c:strRef>
              <c:f>Constraints!$D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3"/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D$2:$D$10</c:f>
              <c:numCache>
                <c:formatCode>General</c:formatCode>
                <c:ptCount val="9"/>
                <c:pt idx="0">
                  <c:v>225353</c:v>
                </c:pt>
                <c:pt idx="1">
                  <c:v>384860</c:v>
                </c:pt>
                <c:pt idx="2">
                  <c:v>577397</c:v>
                </c:pt>
                <c:pt idx="3">
                  <c:v>804374</c:v>
                </c:pt>
                <c:pt idx="4">
                  <c:v>1067201</c:v>
                </c:pt>
                <c:pt idx="5">
                  <c:v>1367288</c:v>
                </c:pt>
                <c:pt idx="6">
                  <c:v>1706045</c:v>
                </c:pt>
                <c:pt idx="7">
                  <c:v>2084882</c:v>
                </c:pt>
                <c:pt idx="8">
                  <c:v>2505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31-4509-A234-89498DC12D31}"/>
            </c:ext>
          </c:extLst>
        </c:ser>
        <c:ser>
          <c:idx val="3"/>
          <c:order val="3"/>
          <c:tx>
            <c:strRef>
              <c:f>Constraints!$E$1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4"/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E$2:$E$10</c:f>
              <c:numCache>
                <c:formatCode>General</c:formatCode>
                <c:ptCount val="9"/>
                <c:pt idx="0">
                  <c:v>305004</c:v>
                </c:pt>
                <c:pt idx="1">
                  <c:v>515461</c:v>
                </c:pt>
                <c:pt idx="2">
                  <c:v>766938</c:v>
                </c:pt>
                <c:pt idx="3">
                  <c:v>1061343</c:v>
                </c:pt>
                <c:pt idx="4">
                  <c:v>1400584</c:v>
                </c:pt>
                <c:pt idx="5">
                  <c:v>1786569</c:v>
                </c:pt>
                <c:pt idx="6">
                  <c:v>2221206</c:v>
                </c:pt>
                <c:pt idx="7">
                  <c:v>2706403</c:v>
                </c:pt>
                <c:pt idx="8">
                  <c:v>3244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31-4509-A234-89498DC12D31}"/>
            </c:ext>
          </c:extLst>
        </c:ser>
        <c:ser>
          <c:idx val="4"/>
          <c:order val="4"/>
          <c:tx>
            <c:strRef>
              <c:f>Constraints!$F$1</c:f>
              <c:strCache>
                <c:ptCount val="1"/>
                <c:pt idx="0">
                  <c:v>6</c:v>
                </c:pt>
              </c:strCache>
            </c:strRef>
          </c:tx>
          <c:spPr>
            <a:solidFill>
              <a:schemeClr val="accent5"/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F$2:$F$10</c:f>
              <c:numCache>
                <c:formatCode>General</c:formatCode>
                <c:ptCount val="9"/>
                <c:pt idx="0">
                  <c:v>400733</c:v>
                </c:pt>
                <c:pt idx="1">
                  <c:v>672008</c:v>
                </c:pt>
                <c:pt idx="2">
                  <c:v>993569</c:v>
                </c:pt>
                <c:pt idx="3">
                  <c:v>1367894</c:v>
                </c:pt>
                <c:pt idx="4">
                  <c:v>1797461</c:v>
                </c:pt>
                <c:pt idx="5">
                  <c:v>2284748</c:v>
                </c:pt>
                <c:pt idx="6">
                  <c:v>2832233</c:v>
                </c:pt>
                <c:pt idx="7">
                  <c:v>3442394</c:v>
                </c:pt>
                <c:pt idx="8">
                  <c:v>41177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31-4509-A234-89498DC12D31}"/>
            </c:ext>
          </c:extLst>
        </c:ser>
        <c:ser>
          <c:idx val="5"/>
          <c:order val="5"/>
          <c:tx>
            <c:strRef>
              <c:f>Constraints!$G$1</c:f>
              <c:strCache>
                <c:ptCount val="1"/>
                <c:pt idx="0">
                  <c:v>7</c:v>
                </c:pt>
              </c:strCache>
            </c:strRef>
          </c:tx>
          <c:spPr>
            <a:solidFill>
              <a:schemeClr val="accent6"/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G$2:$G$10</c:f>
              <c:numCache>
                <c:formatCode>General</c:formatCode>
                <c:ptCount val="9"/>
                <c:pt idx="0">
                  <c:v>515066</c:v>
                </c:pt>
                <c:pt idx="1">
                  <c:v>858515</c:v>
                </c:pt>
                <c:pt idx="2">
                  <c:v>1262936</c:v>
                </c:pt>
                <c:pt idx="3">
                  <c:v>1731449</c:v>
                </c:pt>
                <c:pt idx="4">
                  <c:v>2267174</c:v>
                </c:pt>
                <c:pt idx="5">
                  <c:v>2873231</c:v>
                </c:pt>
                <c:pt idx="6">
                  <c:v>3552740</c:v>
                </c:pt>
                <c:pt idx="7">
                  <c:v>4308821</c:v>
                </c:pt>
                <c:pt idx="8">
                  <c:v>5144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B31-4509-A234-89498DC12D31}"/>
            </c:ext>
          </c:extLst>
        </c:ser>
        <c:ser>
          <c:idx val="6"/>
          <c:order val="6"/>
          <c:tx>
            <c:strRef>
              <c:f>Constraints!$H$1</c:f>
              <c:strCache>
                <c:ptCount val="1"/>
                <c:pt idx="0">
                  <c:v>8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H$2:$H$10</c:f>
              <c:numCache>
                <c:formatCode>General</c:formatCode>
                <c:ptCount val="9"/>
                <c:pt idx="0">
                  <c:v>650817</c:v>
                </c:pt>
                <c:pt idx="1">
                  <c:v>1079428</c:v>
                </c:pt>
                <c:pt idx="2">
                  <c:v>1581261</c:v>
                </c:pt>
                <c:pt idx="3">
                  <c:v>2160150</c:v>
                </c:pt>
                <c:pt idx="4">
                  <c:v>2819929</c:v>
                </c:pt>
                <c:pt idx="5">
                  <c:v>3564432</c:v>
                </c:pt>
                <c:pt idx="6">
                  <c:v>4397493</c:v>
                </c:pt>
                <c:pt idx="7">
                  <c:v>5322946</c:v>
                </c:pt>
                <c:pt idx="8">
                  <c:v>6344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B31-4509-A234-89498DC12D31}"/>
            </c:ext>
          </c:extLst>
        </c:ser>
        <c:ser>
          <c:idx val="7"/>
          <c:order val="7"/>
          <c:tx>
            <c:strRef>
              <c:f>Constraints!$I$1</c:f>
              <c:strCache>
                <c:ptCount val="1"/>
                <c:pt idx="0">
                  <c:v>9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I$2:$I$10</c:f>
              <c:numCache>
                <c:formatCode>General</c:formatCode>
                <c:ptCount val="9"/>
                <c:pt idx="0">
                  <c:v>811088</c:v>
                </c:pt>
                <c:pt idx="1">
                  <c:v>1339625</c:v>
                </c:pt>
                <c:pt idx="2">
                  <c:v>1955342</c:v>
                </c:pt>
                <c:pt idx="3">
                  <c:v>2662859</c:v>
                </c:pt>
                <c:pt idx="4">
                  <c:v>3466796</c:v>
                </c:pt>
                <c:pt idx="5">
                  <c:v>4371773</c:v>
                </c:pt>
                <c:pt idx="6">
                  <c:v>5382410</c:v>
                </c:pt>
                <c:pt idx="7">
                  <c:v>6503327</c:v>
                </c:pt>
                <c:pt idx="8">
                  <c:v>7739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31-4509-A234-89498DC12D31}"/>
            </c:ext>
          </c:extLst>
        </c:ser>
        <c:ser>
          <c:idx val="8"/>
          <c:order val="8"/>
          <c:tx>
            <c:strRef>
              <c:f>Constraints!$J$1</c:f>
              <c:strCache>
                <c:ptCount val="1"/>
                <c:pt idx="0">
                  <c:v>10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/>
            <a:effectLst/>
            <a:sp3d/>
          </c:spP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J$2:$J$10</c:f>
              <c:numCache>
                <c:formatCode>General</c:formatCode>
                <c:ptCount val="9"/>
                <c:pt idx="0">
                  <c:v>999269</c:v>
                </c:pt>
                <c:pt idx="1">
                  <c:v>1644416</c:v>
                </c:pt>
                <c:pt idx="2">
                  <c:v>2392553</c:v>
                </c:pt>
                <c:pt idx="3">
                  <c:v>3249158</c:v>
                </c:pt>
                <c:pt idx="4">
                  <c:v>4219709</c:v>
                </c:pt>
                <c:pt idx="5">
                  <c:v>5309684</c:v>
                </c:pt>
                <c:pt idx="6">
                  <c:v>6524561</c:v>
                </c:pt>
                <c:pt idx="7">
                  <c:v>7869818</c:v>
                </c:pt>
                <c:pt idx="8">
                  <c:v>9350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31-4509-A234-89498DC12D31}"/>
            </c:ext>
          </c:extLst>
        </c:ser>
        <c:bandFmts>
          <c:bandFmt>
            <c:idx val="0"/>
            <c:spPr>
              <a:solidFill>
                <a:schemeClr val="accent1"/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2"/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3"/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4"/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5"/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6"/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1">
                  <a:lumMod val="60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2">
                  <a:lumMod val="60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3">
                  <a:lumMod val="60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4">
                  <a:lumMod val="60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5">
                  <a:lumMod val="6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6">
                  <a:lumMod val="60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1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2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3">
                  <a:lumMod val="80000"/>
                  <a:lumOff val="20000"/>
                </a:schemeClr>
              </a:solidFill>
              <a:ln/>
              <a:effectLst/>
              <a:sp3d/>
            </c:spPr>
          </c:bandFmt>
        </c:bandFmts>
        <c:axId val="494392655"/>
        <c:axId val="236545903"/>
        <c:axId val="302973839"/>
      </c:surface3DChart>
      <c:catAx>
        <c:axId val="4943926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baseline="0" dirty="0">
                    <a:effectLst/>
                  </a:rPr>
                  <a:t>Variables</a:t>
                </a:r>
                <a:endParaRPr lang="en-US" sz="133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545903"/>
        <c:crosses val="autoZero"/>
        <c:auto val="1"/>
        <c:lblAlgn val="ctr"/>
        <c:lblOffset val="100"/>
        <c:noMultiLvlLbl val="0"/>
      </c:catAx>
      <c:valAx>
        <c:axId val="236545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nstraints (x</a:t>
                </a:r>
                <a:r>
                  <a:rPr lang="en-US" baseline="0" dirty="0"/>
                  <a:t> 10</a:t>
                </a:r>
                <a:r>
                  <a:rPr lang="en-US" baseline="30000" dirty="0"/>
                  <a:t>6</a:t>
                </a:r>
                <a:r>
                  <a:rPr lang="en-US" baseline="0" dirty="0"/>
                  <a:t>)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392655"/>
        <c:crosses val="autoZero"/>
        <c:crossBetween val="midCat"/>
        <c:dispUnits>
          <c:builtInUnit val="millions"/>
        </c:dispUnits>
      </c:valAx>
      <c:serAx>
        <c:axId val="3029738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ndi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545903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419850296490717"/>
          <c:y val="0.72738990662850034"/>
          <c:w val="0.68080052493438326"/>
          <c:h val="0.231312376759466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ompile Time'!$A$2</c:f>
              <c:strCache>
                <c:ptCount val="1"/>
                <c:pt idx="0">
                  <c:v>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2:$J$2</c:f>
              <c:numCache>
                <c:formatCode>General</c:formatCode>
                <c:ptCount val="9"/>
                <c:pt idx="0">
                  <c:v>4.827</c:v>
                </c:pt>
                <c:pt idx="1">
                  <c:v>8.2219999999999995</c:v>
                </c:pt>
                <c:pt idx="2">
                  <c:v>12.782</c:v>
                </c:pt>
                <c:pt idx="3">
                  <c:v>20.375</c:v>
                </c:pt>
                <c:pt idx="4">
                  <c:v>32.087000000000003</c:v>
                </c:pt>
                <c:pt idx="5">
                  <c:v>50.357999999999997</c:v>
                </c:pt>
                <c:pt idx="6">
                  <c:v>78.244</c:v>
                </c:pt>
                <c:pt idx="7">
                  <c:v>126.003</c:v>
                </c:pt>
                <c:pt idx="8">
                  <c:v>182.968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4C-48A1-8616-F956DD868147}"/>
            </c:ext>
          </c:extLst>
        </c:ser>
        <c:ser>
          <c:idx val="1"/>
          <c:order val="1"/>
          <c:tx>
            <c:strRef>
              <c:f>'Compile Time'!$A$3</c:f>
              <c:strCache>
                <c:ptCount val="1"/>
                <c:pt idx="0">
                  <c:v>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3:$J$3</c:f>
              <c:numCache>
                <c:formatCode>General</c:formatCode>
                <c:ptCount val="9"/>
                <c:pt idx="0">
                  <c:v>8.7449999999999992</c:v>
                </c:pt>
                <c:pt idx="1">
                  <c:v>14.553000000000001</c:v>
                </c:pt>
                <c:pt idx="2">
                  <c:v>23.363</c:v>
                </c:pt>
                <c:pt idx="3">
                  <c:v>36.991999999999997</c:v>
                </c:pt>
                <c:pt idx="4">
                  <c:v>61.572000000000003</c:v>
                </c:pt>
                <c:pt idx="5">
                  <c:v>91.674000000000007</c:v>
                </c:pt>
                <c:pt idx="6">
                  <c:v>141.58199999999999</c:v>
                </c:pt>
                <c:pt idx="7">
                  <c:v>216.39</c:v>
                </c:pt>
                <c:pt idx="8">
                  <c:v>336.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4C-48A1-8616-F956DD868147}"/>
            </c:ext>
          </c:extLst>
        </c:ser>
        <c:ser>
          <c:idx val="2"/>
          <c:order val="2"/>
          <c:tx>
            <c:strRef>
              <c:f>'Compile Time'!$A$4</c:f>
              <c:strCache>
                <c:ptCount val="1"/>
                <c:pt idx="0">
                  <c:v>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4:$J$4</c:f>
              <c:numCache>
                <c:formatCode>General</c:formatCode>
                <c:ptCount val="9"/>
                <c:pt idx="0">
                  <c:v>14.1</c:v>
                </c:pt>
                <c:pt idx="1">
                  <c:v>23.248999999999999</c:v>
                </c:pt>
                <c:pt idx="2">
                  <c:v>36.865000000000002</c:v>
                </c:pt>
                <c:pt idx="3">
                  <c:v>59.143999999999998</c:v>
                </c:pt>
                <c:pt idx="4">
                  <c:v>94.888000000000005</c:v>
                </c:pt>
                <c:pt idx="5">
                  <c:v>146.39599999999999</c:v>
                </c:pt>
                <c:pt idx="6">
                  <c:v>224.74600000000001</c:v>
                </c:pt>
                <c:pt idx="7">
                  <c:v>346.74900000000002</c:v>
                </c:pt>
                <c:pt idx="8">
                  <c:v>524.355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D4C-48A1-8616-F956DD868147}"/>
            </c:ext>
          </c:extLst>
        </c:ser>
        <c:ser>
          <c:idx val="3"/>
          <c:order val="3"/>
          <c:tx>
            <c:strRef>
              <c:f>'Compile Time'!$A$5</c:f>
              <c:strCache>
                <c:ptCount val="1"/>
                <c:pt idx="0">
                  <c:v>5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5:$J$5</c:f>
              <c:numCache>
                <c:formatCode>General</c:formatCode>
                <c:ptCount val="9"/>
                <c:pt idx="0">
                  <c:v>20.309000000000001</c:v>
                </c:pt>
                <c:pt idx="1">
                  <c:v>33.881</c:v>
                </c:pt>
                <c:pt idx="2">
                  <c:v>55.317</c:v>
                </c:pt>
                <c:pt idx="3">
                  <c:v>88.926000000000002</c:v>
                </c:pt>
                <c:pt idx="4">
                  <c:v>140.52799999999999</c:v>
                </c:pt>
                <c:pt idx="5">
                  <c:v>216.41</c:v>
                </c:pt>
                <c:pt idx="6">
                  <c:v>330.86900000000003</c:v>
                </c:pt>
                <c:pt idx="7">
                  <c:v>516.947</c:v>
                </c:pt>
                <c:pt idx="8">
                  <c:v>779.346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D4C-48A1-8616-F956DD868147}"/>
            </c:ext>
          </c:extLst>
        </c:ser>
        <c:ser>
          <c:idx val="4"/>
          <c:order val="4"/>
          <c:tx>
            <c:strRef>
              <c:f>'Compile Time'!$A$6</c:f>
              <c:strCache>
                <c:ptCount val="1"/>
                <c:pt idx="0">
                  <c:v>6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6:$J$6</c:f>
              <c:numCache>
                <c:formatCode>General</c:formatCode>
                <c:ptCount val="9"/>
                <c:pt idx="0">
                  <c:v>28.125</c:v>
                </c:pt>
                <c:pt idx="1">
                  <c:v>50.088000000000001</c:v>
                </c:pt>
                <c:pt idx="2">
                  <c:v>76.409000000000006</c:v>
                </c:pt>
                <c:pt idx="3">
                  <c:v>123.78100000000001</c:v>
                </c:pt>
                <c:pt idx="4">
                  <c:v>196.83699999999999</c:v>
                </c:pt>
                <c:pt idx="5">
                  <c:v>307.14299999999997</c:v>
                </c:pt>
                <c:pt idx="6">
                  <c:v>476.94600000000003</c:v>
                </c:pt>
                <c:pt idx="7">
                  <c:v>729.60199999999998</c:v>
                </c:pt>
                <c:pt idx="8">
                  <c:v>1110.94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D4C-48A1-8616-F956DD868147}"/>
            </c:ext>
          </c:extLst>
        </c:ser>
        <c:ser>
          <c:idx val="5"/>
          <c:order val="5"/>
          <c:tx>
            <c:strRef>
              <c:f>'Compile Time'!$A$7</c:f>
              <c:strCache>
                <c:ptCount val="1"/>
                <c:pt idx="0">
                  <c:v>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7:$J$7</c:f>
              <c:numCache>
                <c:formatCode>General</c:formatCode>
                <c:ptCount val="9"/>
                <c:pt idx="0">
                  <c:v>38.097000000000001</c:v>
                </c:pt>
                <c:pt idx="1">
                  <c:v>63.965000000000003</c:v>
                </c:pt>
                <c:pt idx="2">
                  <c:v>104.857</c:v>
                </c:pt>
                <c:pt idx="3">
                  <c:v>167.42699999999999</c:v>
                </c:pt>
                <c:pt idx="4">
                  <c:v>267.31299999999999</c:v>
                </c:pt>
                <c:pt idx="5">
                  <c:v>423.108</c:v>
                </c:pt>
                <c:pt idx="6">
                  <c:v>657.04499999999996</c:v>
                </c:pt>
                <c:pt idx="7">
                  <c:v>999.71500000000003</c:v>
                </c:pt>
                <c:pt idx="8">
                  <c:v>1494.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D4C-48A1-8616-F956DD868147}"/>
            </c:ext>
          </c:extLst>
        </c:ser>
        <c:ser>
          <c:idx val="6"/>
          <c:order val="6"/>
          <c:tx>
            <c:strRef>
              <c:f>'Compile Time'!$A$8</c:f>
              <c:strCache>
                <c:ptCount val="1"/>
                <c:pt idx="0">
                  <c:v>8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8:$J$8</c:f>
              <c:numCache>
                <c:formatCode>General</c:formatCode>
                <c:ptCount val="9"/>
                <c:pt idx="0">
                  <c:v>49.923999999999999</c:v>
                </c:pt>
                <c:pt idx="1">
                  <c:v>84.024000000000001</c:v>
                </c:pt>
                <c:pt idx="2">
                  <c:v>139.53700000000001</c:v>
                </c:pt>
                <c:pt idx="3">
                  <c:v>225.506</c:v>
                </c:pt>
                <c:pt idx="4">
                  <c:v>357.774</c:v>
                </c:pt>
                <c:pt idx="5">
                  <c:v>565.67600000000004</c:v>
                </c:pt>
                <c:pt idx="6">
                  <c:v>867.31399999999996</c:v>
                </c:pt>
                <c:pt idx="7">
                  <c:v>1333.1220000000001</c:v>
                </c:pt>
                <c:pt idx="8">
                  <c:v>1981.553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D4C-48A1-8616-F956DD868147}"/>
            </c:ext>
          </c:extLst>
        </c:ser>
        <c:ser>
          <c:idx val="7"/>
          <c:order val="7"/>
          <c:tx>
            <c:strRef>
              <c:f>'Compile Time'!$A$9</c:f>
              <c:strCache>
                <c:ptCount val="1"/>
                <c:pt idx="0">
                  <c:v>9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9:$J$9</c:f>
              <c:numCache>
                <c:formatCode>General</c:formatCode>
                <c:ptCount val="9"/>
                <c:pt idx="0">
                  <c:v>63.603999999999999</c:v>
                </c:pt>
                <c:pt idx="1">
                  <c:v>108.148</c:v>
                </c:pt>
                <c:pt idx="2">
                  <c:v>179.99299999999999</c:v>
                </c:pt>
                <c:pt idx="3">
                  <c:v>290.21300000000002</c:v>
                </c:pt>
                <c:pt idx="4">
                  <c:v>467.34199999999998</c:v>
                </c:pt>
                <c:pt idx="5">
                  <c:v>738.33100000000002</c:v>
                </c:pt>
                <c:pt idx="6">
                  <c:v>1133.106</c:v>
                </c:pt>
                <c:pt idx="7">
                  <c:v>1733.4849999999999</c:v>
                </c:pt>
                <c:pt idx="8">
                  <c:v>2537.222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D4C-48A1-8616-F956DD868147}"/>
            </c:ext>
          </c:extLst>
        </c:ser>
        <c:ser>
          <c:idx val="8"/>
          <c:order val="8"/>
          <c:tx>
            <c:strRef>
              <c:f>'Compile Time'!$A$10</c:f>
              <c:strCache>
                <c:ptCount val="1"/>
                <c:pt idx="0">
                  <c:v>10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il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10:$J$10</c:f>
              <c:numCache>
                <c:formatCode>General</c:formatCode>
                <c:ptCount val="9"/>
                <c:pt idx="0">
                  <c:v>79.364000000000004</c:v>
                </c:pt>
                <c:pt idx="1">
                  <c:v>137.12700000000001</c:v>
                </c:pt>
                <c:pt idx="2">
                  <c:v>228.01499999999999</c:v>
                </c:pt>
                <c:pt idx="3">
                  <c:v>371.65</c:v>
                </c:pt>
                <c:pt idx="4">
                  <c:v>594.08799999999997</c:v>
                </c:pt>
                <c:pt idx="5">
                  <c:v>937.60599999999999</c:v>
                </c:pt>
                <c:pt idx="6">
                  <c:v>1459.4469999999999</c:v>
                </c:pt>
                <c:pt idx="7">
                  <c:v>2218.4749999999999</c:v>
                </c:pt>
                <c:pt idx="8">
                  <c:v>3261.121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0D4C-48A1-8616-F956DD86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034399"/>
        <c:axId val="543300303"/>
      </c:lineChart>
      <c:catAx>
        <c:axId val="46503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3300303"/>
        <c:crosses val="autoZero"/>
        <c:auto val="1"/>
        <c:lblAlgn val="ctr"/>
        <c:lblOffset val="100"/>
        <c:noMultiLvlLbl val="0"/>
      </c:catAx>
      <c:valAx>
        <c:axId val="543300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mpile Time (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34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ompute Time'!$A$2</c:f>
              <c:strCache>
                <c:ptCount val="1"/>
                <c:pt idx="0">
                  <c:v>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2:$J$2</c:f>
              <c:numCache>
                <c:formatCode>General</c:formatCode>
                <c:ptCount val="9"/>
                <c:pt idx="0">
                  <c:v>1.3740000000000001</c:v>
                </c:pt>
                <c:pt idx="1">
                  <c:v>1.9650000000000001</c:v>
                </c:pt>
                <c:pt idx="2">
                  <c:v>2.661</c:v>
                </c:pt>
                <c:pt idx="3">
                  <c:v>3.6120000000000001</c:v>
                </c:pt>
                <c:pt idx="4">
                  <c:v>4.6369999999999996</c:v>
                </c:pt>
                <c:pt idx="5">
                  <c:v>5.7160000000000002</c:v>
                </c:pt>
                <c:pt idx="6">
                  <c:v>7.0830000000000002</c:v>
                </c:pt>
                <c:pt idx="7">
                  <c:v>8.5220000000000002</c:v>
                </c:pt>
                <c:pt idx="8">
                  <c:v>10.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7F-4474-9C09-AAAEAD14A260}"/>
            </c:ext>
          </c:extLst>
        </c:ser>
        <c:ser>
          <c:idx val="1"/>
          <c:order val="1"/>
          <c:tx>
            <c:strRef>
              <c:f>'Compute Time'!$A$3</c:f>
              <c:strCache>
                <c:ptCount val="1"/>
                <c:pt idx="0">
                  <c:v>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3:$J$3</c:f>
              <c:numCache>
                <c:formatCode>General</c:formatCode>
                <c:ptCount val="9"/>
                <c:pt idx="0">
                  <c:v>2.35</c:v>
                </c:pt>
                <c:pt idx="1">
                  <c:v>3.395</c:v>
                </c:pt>
                <c:pt idx="2">
                  <c:v>4.665</c:v>
                </c:pt>
                <c:pt idx="3">
                  <c:v>5.976</c:v>
                </c:pt>
                <c:pt idx="4">
                  <c:v>7.6029999999999998</c:v>
                </c:pt>
                <c:pt idx="5">
                  <c:v>9.4809999999999999</c:v>
                </c:pt>
                <c:pt idx="6">
                  <c:v>11.381</c:v>
                </c:pt>
                <c:pt idx="7">
                  <c:v>14.483000000000001</c:v>
                </c:pt>
                <c:pt idx="8">
                  <c:v>16.652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7F-4474-9C09-AAAEAD14A260}"/>
            </c:ext>
          </c:extLst>
        </c:ser>
        <c:ser>
          <c:idx val="2"/>
          <c:order val="2"/>
          <c:tx>
            <c:strRef>
              <c:f>'Compute Time'!$A$4</c:f>
              <c:strCache>
                <c:ptCount val="1"/>
                <c:pt idx="0">
                  <c:v>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4:$J$4</c:f>
              <c:numCache>
                <c:formatCode>General</c:formatCode>
                <c:ptCount val="9"/>
                <c:pt idx="0">
                  <c:v>3.605</c:v>
                </c:pt>
                <c:pt idx="1">
                  <c:v>5.0709999999999997</c:v>
                </c:pt>
                <c:pt idx="2">
                  <c:v>6.7640000000000002</c:v>
                </c:pt>
                <c:pt idx="3">
                  <c:v>8.7799999999999994</c:v>
                </c:pt>
                <c:pt idx="4">
                  <c:v>11.010999999999999</c:v>
                </c:pt>
                <c:pt idx="5">
                  <c:v>13.506</c:v>
                </c:pt>
                <c:pt idx="6">
                  <c:v>17.102</c:v>
                </c:pt>
                <c:pt idx="7">
                  <c:v>20.190999999999999</c:v>
                </c:pt>
                <c:pt idx="8">
                  <c:v>24.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7F-4474-9C09-AAAEAD14A260}"/>
            </c:ext>
          </c:extLst>
        </c:ser>
        <c:ser>
          <c:idx val="3"/>
          <c:order val="3"/>
          <c:tx>
            <c:strRef>
              <c:f>'Compute Time'!$A$5</c:f>
              <c:strCache>
                <c:ptCount val="1"/>
                <c:pt idx="0">
                  <c:v>5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5:$J$5</c:f>
              <c:numCache>
                <c:formatCode>General</c:formatCode>
                <c:ptCount val="9"/>
                <c:pt idx="0">
                  <c:v>5.0839999999999996</c:v>
                </c:pt>
                <c:pt idx="1">
                  <c:v>7.0990000000000002</c:v>
                </c:pt>
                <c:pt idx="2">
                  <c:v>9.282</c:v>
                </c:pt>
                <c:pt idx="3">
                  <c:v>11.911</c:v>
                </c:pt>
                <c:pt idx="4">
                  <c:v>15.087999999999999</c:v>
                </c:pt>
                <c:pt idx="5">
                  <c:v>18.422000000000001</c:v>
                </c:pt>
                <c:pt idx="6">
                  <c:v>22.422999999999998</c:v>
                </c:pt>
                <c:pt idx="7">
                  <c:v>26.501999999999999</c:v>
                </c:pt>
                <c:pt idx="8">
                  <c:v>31.77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7F-4474-9C09-AAAEAD14A260}"/>
            </c:ext>
          </c:extLst>
        </c:ser>
        <c:ser>
          <c:idx val="4"/>
          <c:order val="4"/>
          <c:tx>
            <c:strRef>
              <c:f>'Compute Time'!$A$6</c:f>
              <c:strCache>
                <c:ptCount val="1"/>
                <c:pt idx="0">
                  <c:v>6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6:$J$6</c:f>
              <c:numCache>
                <c:formatCode>General</c:formatCode>
                <c:ptCount val="9"/>
                <c:pt idx="0">
                  <c:v>6.7130000000000001</c:v>
                </c:pt>
                <c:pt idx="1">
                  <c:v>9.3119999999999994</c:v>
                </c:pt>
                <c:pt idx="2">
                  <c:v>12.381</c:v>
                </c:pt>
                <c:pt idx="3">
                  <c:v>15.638999999999999</c:v>
                </c:pt>
                <c:pt idx="4">
                  <c:v>19.396999999999998</c:v>
                </c:pt>
                <c:pt idx="5">
                  <c:v>23.768000000000001</c:v>
                </c:pt>
                <c:pt idx="6">
                  <c:v>28.942</c:v>
                </c:pt>
                <c:pt idx="7">
                  <c:v>34.402000000000001</c:v>
                </c:pt>
                <c:pt idx="8">
                  <c:v>40.837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A7F-4474-9C09-AAAEAD14A260}"/>
            </c:ext>
          </c:extLst>
        </c:ser>
        <c:ser>
          <c:idx val="5"/>
          <c:order val="5"/>
          <c:tx>
            <c:strRef>
              <c:f>'Compute Time'!$A$7</c:f>
              <c:strCache>
                <c:ptCount val="1"/>
                <c:pt idx="0">
                  <c:v>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7:$J$7</c:f>
              <c:numCache>
                <c:formatCode>General</c:formatCode>
                <c:ptCount val="9"/>
                <c:pt idx="0">
                  <c:v>8.6379999999999999</c:v>
                </c:pt>
                <c:pt idx="1">
                  <c:v>11.897</c:v>
                </c:pt>
                <c:pt idx="2">
                  <c:v>15.635</c:v>
                </c:pt>
                <c:pt idx="3">
                  <c:v>19.803000000000001</c:v>
                </c:pt>
                <c:pt idx="4">
                  <c:v>24.498000000000001</c:v>
                </c:pt>
                <c:pt idx="5">
                  <c:v>30.558</c:v>
                </c:pt>
                <c:pt idx="6">
                  <c:v>36.024999999999999</c:v>
                </c:pt>
                <c:pt idx="7">
                  <c:v>42.859000000000002</c:v>
                </c:pt>
                <c:pt idx="8">
                  <c:v>51.082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7F-4474-9C09-AAAEAD14A260}"/>
            </c:ext>
          </c:extLst>
        </c:ser>
        <c:ser>
          <c:idx val="6"/>
          <c:order val="6"/>
          <c:tx>
            <c:strRef>
              <c:f>'Compute Time'!$A$8</c:f>
              <c:strCache>
                <c:ptCount val="1"/>
                <c:pt idx="0">
                  <c:v>8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8:$J$8</c:f>
              <c:numCache>
                <c:formatCode>General</c:formatCode>
                <c:ptCount val="9"/>
                <c:pt idx="0">
                  <c:v>10.792999999999999</c:v>
                </c:pt>
                <c:pt idx="1">
                  <c:v>14.784000000000001</c:v>
                </c:pt>
                <c:pt idx="2">
                  <c:v>19.329000000000001</c:v>
                </c:pt>
                <c:pt idx="3">
                  <c:v>24.138999999999999</c:v>
                </c:pt>
                <c:pt idx="4">
                  <c:v>29.885000000000002</c:v>
                </c:pt>
                <c:pt idx="5">
                  <c:v>37.197000000000003</c:v>
                </c:pt>
                <c:pt idx="6">
                  <c:v>44.424999999999997</c:v>
                </c:pt>
                <c:pt idx="7">
                  <c:v>52.307000000000002</c:v>
                </c:pt>
                <c:pt idx="8">
                  <c:v>61.875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A7F-4474-9C09-AAAEAD14A260}"/>
            </c:ext>
          </c:extLst>
        </c:ser>
        <c:ser>
          <c:idx val="7"/>
          <c:order val="7"/>
          <c:tx>
            <c:strRef>
              <c:f>'Compute Time'!$A$9</c:f>
              <c:strCache>
                <c:ptCount val="1"/>
                <c:pt idx="0">
                  <c:v>9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9:$J$9</c:f>
              <c:numCache>
                <c:formatCode>General</c:formatCode>
                <c:ptCount val="9"/>
                <c:pt idx="0">
                  <c:v>13.193</c:v>
                </c:pt>
                <c:pt idx="1">
                  <c:v>18.324999999999999</c:v>
                </c:pt>
                <c:pt idx="2">
                  <c:v>23.154</c:v>
                </c:pt>
                <c:pt idx="3">
                  <c:v>28.704000000000001</c:v>
                </c:pt>
                <c:pt idx="4">
                  <c:v>36.018999999999998</c:v>
                </c:pt>
                <c:pt idx="5">
                  <c:v>44.048000000000002</c:v>
                </c:pt>
                <c:pt idx="6">
                  <c:v>53.264000000000003</c:v>
                </c:pt>
                <c:pt idx="7">
                  <c:v>63.643999999999998</c:v>
                </c:pt>
                <c:pt idx="8">
                  <c:v>73.703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A7F-4474-9C09-AAAEAD14A260}"/>
            </c:ext>
          </c:extLst>
        </c:ser>
        <c:ser>
          <c:idx val="8"/>
          <c:order val="8"/>
          <c:tx>
            <c:strRef>
              <c:f>'Compute Time'!$A$10</c:f>
              <c:strCache>
                <c:ptCount val="1"/>
                <c:pt idx="0">
                  <c:v>10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ute Time'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10:$J$10</c:f>
              <c:numCache>
                <c:formatCode>General</c:formatCode>
                <c:ptCount val="9"/>
                <c:pt idx="0">
                  <c:v>15.782</c:v>
                </c:pt>
                <c:pt idx="1">
                  <c:v>21.204999999999998</c:v>
                </c:pt>
                <c:pt idx="2">
                  <c:v>27.536000000000001</c:v>
                </c:pt>
                <c:pt idx="3">
                  <c:v>34.215000000000003</c:v>
                </c:pt>
                <c:pt idx="4">
                  <c:v>42.805</c:v>
                </c:pt>
                <c:pt idx="5">
                  <c:v>51.597000000000001</c:v>
                </c:pt>
                <c:pt idx="6">
                  <c:v>61.768999999999998</c:v>
                </c:pt>
                <c:pt idx="7">
                  <c:v>72.933999999999997</c:v>
                </c:pt>
                <c:pt idx="8">
                  <c:v>86.736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1A7F-4474-9C09-AAAEAD14A2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034399"/>
        <c:axId val="543300303"/>
      </c:lineChart>
      <c:catAx>
        <c:axId val="46503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3300303"/>
        <c:crosses val="autoZero"/>
        <c:auto val="1"/>
        <c:lblAlgn val="ctr"/>
        <c:lblOffset val="100"/>
        <c:noMultiLvlLbl val="0"/>
      </c:catAx>
      <c:valAx>
        <c:axId val="543300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mpute Time (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34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Constraints!$A$2</c:f>
              <c:strCache>
                <c:ptCount val="1"/>
                <c:pt idx="0">
                  <c:v>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2:$J$2</c:f>
              <c:numCache>
                <c:formatCode>General</c:formatCode>
                <c:ptCount val="9"/>
                <c:pt idx="0">
                  <c:v>105621</c:v>
                </c:pt>
                <c:pt idx="1">
                  <c:v>159542</c:v>
                </c:pt>
                <c:pt idx="2">
                  <c:v>225353</c:v>
                </c:pt>
                <c:pt idx="3">
                  <c:v>305004</c:v>
                </c:pt>
                <c:pt idx="4">
                  <c:v>400733</c:v>
                </c:pt>
                <c:pt idx="5">
                  <c:v>515066</c:v>
                </c:pt>
                <c:pt idx="6">
                  <c:v>650817</c:v>
                </c:pt>
                <c:pt idx="7">
                  <c:v>811088</c:v>
                </c:pt>
                <c:pt idx="8">
                  <c:v>999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BA1-4D98-A9D3-328C9210DB57}"/>
            </c:ext>
          </c:extLst>
        </c:ser>
        <c:ser>
          <c:idx val="1"/>
          <c:order val="1"/>
          <c:tx>
            <c:strRef>
              <c:f>Constraints!$A$3</c:f>
              <c:strCache>
                <c:ptCount val="1"/>
                <c:pt idx="0">
                  <c:v>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3:$J$3</c:f>
              <c:numCache>
                <c:formatCode>General</c:formatCode>
                <c:ptCount val="9"/>
                <c:pt idx="0">
                  <c:v>187600</c:v>
                </c:pt>
                <c:pt idx="1">
                  <c:v>276623</c:v>
                </c:pt>
                <c:pt idx="2">
                  <c:v>384860</c:v>
                </c:pt>
                <c:pt idx="3">
                  <c:v>515461</c:v>
                </c:pt>
                <c:pt idx="4">
                  <c:v>672008</c:v>
                </c:pt>
                <c:pt idx="5">
                  <c:v>858515</c:v>
                </c:pt>
                <c:pt idx="6">
                  <c:v>1079428</c:v>
                </c:pt>
                <c:pt idx="7">
                  <c:v>1339625</c:v>
                </c:pt>
                <c:pt idx="8">
                  <c:v>164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BA1-4D98-A9D3-328C9210DB57}"/>
            </c:ext>
          </c:extLst>
        </c:ser>
        <c:ser>
          <c:idx val="2"/>
          <c:order val="2"/>
          <c:tx>
            <c:strRef>
              <c:f>Constraints!$A$4</c:f>
              <c:strCache>
                <c:ptCount val="1"/>
                <c:pt idx="0">
                  <c:v>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4:$J$4</c:f>
              <c:numCache>
                <c:formatCode>General</c:formatCode>
                <c:ptCount val="9"/>
                <c:pt idx="0">
                  <c:v>289881</c:v>
                </c:pt>
                <c:pt idx="1">
                  <c:v>419876</c:v>
                </c:pt>
                <c:pt idx="2">
                  <c:v>577397</c:v>
                </c:pt>
                <c:pt idx="3">
                  <c:v>766938</c:v>
                </c:pt>
                <c:pt idx="4">
                  <c:v>993569</c:v>
                </c:pt>
                <c:pt idx="5">
                  <c:v>1262936</c:v>
                </c:pt>
                <c:pt idx="6">
                  <c:v>1581261</c:v>
                </c:pt>
                <c:pt idx="7">
                  <c:v>1955342</c:v>
                </c:pt>
                <c:pt idx="8">
                  <c:v>2392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BA1-4D98-A9D3-328C9210DB57}"/>
            </c:ext>
          </c:extLst>
        </c:ser>
        <c:ser>
          <c:idx val="3"/>
          <c:order val="3"/>
          <c:tx>
            <c:strRef>
              <c:f>Constraints!$A$5</c:f>
              <c:strCache>
                <c:ptCount val="1"/>
                <c:pt idx="0">
                  <c:v>5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5:$J$5</c:f>
              <c:numCache>
                <c:formatCode>General</c:formatCode>
                <c:ptCount val="9"/>
                <c:pt idx="0">
                  <c:v>413094</c:v>
                </c:pt>
                <c:pt idx="1">
                  <c:v>590285</c:v>
                </c:pt>
                <c:pt idx="2">
                  <c:v>804374</c:v>
                </c:pt>
                <c:pt idx="3">
                  <c:v>1061343</c:v>
                </c:pt>
                <c:pt idx="4">
                  <c:v>1367894</c:v>
                </c:pt>
                <c:pt idx="5">
                  <c:v>1731449</c:v>
                </c:pt>
                <c:pt idx="6">
                  <c:v>2160150</c:v>
                </c:pt>
                <c:pt idx="7">
                  <c:v>2662859</c:v>
                </c:pt>
                <c:pt idx="8">
                  <c:v>3249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BA1-4D98-A9D3-328C9210DB57}"/>
            </c:ext>
          </c:extLst>
        </c:ser>
        <c:ser>
          <c:idx val="4"/>
          <c:order val="4"/>
          <c:tx>
            <c:strRef>
              <c:f>Constraints!$A$6</c:f>
              <c:strCache>
                <c:ptCount val="1"/>
                <c:pt idx="0">
                  <c:v>6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6:$J$6</c:f>
              <c:numCache>
                <c:formatCode>General</c:formatCode>
                <c:ptCount val="9"/>
                <c:pt idx="0">
                  <c:v>557869</c:v>
                </c:pt>
                <c:pt idx="1">
                  <c:v>788834</c:v>
                </c:pt>
                <c:pt idx="2">
                  <c:v>1067201</c:v>
                </c:pt>
                <c:pt idx="3">
                  <c:v>1400584</c:v>
                </c:pt>
                <c:pt idx="4">
                  <c:v>1797461</c:v>
                </c:pt>
                <c:pt idx="5">
                  <c:v>2267174</c:v>
                </c:pt>
                <c:pt idx="6">
                  <c:v>2819929</c:v>
                </c:pt>
                <c:pt idx="7">
                  <c:v>3466796</c:v>
                </c:pt>
                <c:pt idx="8">
                  <c:v>4219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BA1-4D98-A9D3-328C9210DB57}"/>
            </c:ext>
          </c:extLst>
        </c:ser>
        <c:ser>
          <c:idx val="5"/>
          <c:order val="5"/>
          <c:tx>
            <c:strRef>
              <c:f>Constraints!$A$7</c:f>
              <c:strCache>
                <c:ptCount val="1"/>
                <c:pt idx="0">
                  <c:v>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7:$J$7</c:f>
              <c:numCache>
                <c:formatCode>General</c:formatCode>
                <c:ptCount val="9"/>
                <c:pt idx="0">
                  <c:v>724836</c:v>
                </c:pt>
                <c:pt idx="1">
                  <c:v>1016507</c:v>
                </c:pt>
                <c:pt idx="2">
                  <c:v>1367288</c:v>
                </c:pt>
                <c:pt idx="3">
                  <c:v>1786569</c:v>
                </c:pt>
                <c:pt idx="4">
                  <c:v>2284748</c:v>
                </c:pt>
                <c:pt idx="5">
                  <c:v>2873231</c:v>
                </c:pt>
                <c:pt idx="6">
                  <c:v>3564432</c:v>
                </c:pt>
                <c:pt idx="7">
                  <c:v>4371773</c:v>
                </c:pt>
                <c:pt idx="8">
                  <c:v>5309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BA1-4D98-A9D3-328C9210DB57}"/>
            </c:ext>
          </c:extLst>
        </c:ser>
        <c:ser>
          <c:idx val="6"/>
          <c:order val="6"/>
          <c:tx>
            <c:strRef>
              <c:f>Constraints!$A$8</c:f>
              <c:strCache>
                <c:ptCount val="1"/>
                <c:pt idx="0">
                  <c:v>8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8:$J$8</c:f>
              <c:numCache>
                <c:formatCode>General</c:formatCode>
                <c:ptCount val="9"/>
                <c:pt idx="0">
                  <c:v>914625</c:v>
                </c:pt>
                <c:pt idx="1">
                  <c:v>1274288</c:v>
                </c:pt>
                <c:pt idx="2">
                  <c:v>1706045</c:v>
                </c:pt>
                <c:pt idx="3">
                  <c:v>2221206</c:v>
                </c:pt>
                <c:pt idx="4">
                  <c:v>2832233</c:v>
                </c:pt>
                <c:pt idx="5">
                  <c:v>3552740</c:v>
                </c:pt>
                <c:pt idx="6">
                  <c:v>4397493</c:v>
                </c:pt>
                <c:pt idx="7">
                  <c:v>5382410</c:v>
                </c:pt>
                <c:pt idx="8">
                  <c:v>6524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BA1-4D98-A9D3-328C9210DB57}"/>
            </c:ext>
          </c:extLst>
        </c:ser>
        <c:ser>
          <c:idx val="7"/>
          <c:order val="7"/>
          <c:tx>
            <c:strRef>
              <c:f>Constraints!$A$9</c:f>
              <c:strCache>
                <c:ptCount val="1"/>
                <c:pt idx="0">
                  <c:v>9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9:$J$9</c:f>
              <c:numCache>
                <c:formatCode>General</c:formatCode>
                <c:ptCount val="9"/>
                <c:pt idx="0">
                  <c:v>1127866</c:v>
                </c:pt>
                <c:pt idx="1">
                  <c:v>1563161</c:v>
                </c:pt>
                <c:pt idx="2">
                  <c:v>2084882</c:v>
                </c:pt>
                <c:pt idx="3">
                  <c:v>2706403</c:v>
                </c:pt>
                <c:pt idx="4">
                  <c:v>3442394</c:v>
                </c:pt>
                <c:pt idx="5">
                  <c:v>4308821</c:v>
                </c:pt>
                <c:pt idx="6">
                  <c:v>5322946</c:v>
                </c:pt>
                <c:pt idx="7">
                  <c:v>6503327</c:v>
                </c:pt>
                <c:pt idx="8">
                  <c:v>78698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BA1-4D98-A9D3-328C9210DB57}"/>
            </c:ext>
          </c:extLst>
        </c:ser>
        <c:ser>
          <c:idx val="8"/>
          <c:order val="8"/>
          <c:tx>
            <c:strRef>
              <c:f>Constraints!$A$10</c:f>
              <c:strCache>
                <c:ptCount val="1"/>
                <c:pt idx="0">
                  <c:v>10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Constraints!$B$1:$J$1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10:$J$10</c:f>
              <c:numCache>
                <c:formatCode>General</c:formatCode>
                <c:ptCount val="9"/>
                <c:pt idx="0">
                  <c:v>1365189</c:v>
                </c:pt>
                <c:pt idx="1">
                  <c:v>1884110</c:v>
                </c:pt>
                <c:pt idx="2">
                  <c:v>2505209</c:v>
                </c:pt>
                <c:pt idx="3">
                  <c:v>3244068</c:v>
                </c:pt>
                <c:pt idx="4">
                  <c:v>4117709</c:v>
                </c:pt>
                <c:pt idx="5">
                  <c:v>5144594</c:v>
                </c:pt>
                <c:pt idx="6">
                  <c:v>6344625</c:v>
                </c:pt>
                <c:pt idx="7">
                  <c:v>7739144</c:v>
                </c:pt>
                <c:pt idx="8">
                  <c:v>9350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BA1-4D98-A9D3-328C9210DB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034399"/>
        <c:axId val="543300303"/>
      </c:lineChart>
      <c:catAx>
        <c:axId val="46503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3300303"/>
        <c:crosses val="autoZero"/>
        <c:auto val="1"/>
        <c:lblAlgn val="ctr"/>
        <c:lblOffset val="100"/>
        <c:noMultiLvlLbl val="0"/>
      </c:catAx>
      <c:valAx>
        <c:axId val="543300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nstraints (x 10</a:t>
                </a:r>
                <a:r>
                  <a:rPr lang="en-US" baseline="30000" dirty="0"/>
                  <a:t>6</a:t>
                </a:r>
                <a:r>
                  <a:rPr lang="en-US" dirty="0"/>
                  <a:t>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34399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ompile Time'!$B$1</c:f>
              <c:strCache>
                <c:ptCount val="1"/>
                <c:pt idx="0">
                  <c:v>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B$2:$B$10</c:f>
              <c:numCache>
                <c:formatCode>General</c:formatCode>
                <c:ptCount val="9"/>
                <c:pt idx="0">
                  <c:v>4.827</c:v>
                </c:pt>
                <c:pt idx="1">
                  <c:v>8.7449999999999992</c:v>
                </c:pt>
                <c:pt idx="2">
                  <c:v>14.1</c:v>
                </c:pt>
                <c:pt idx="3">
                  <c:v>20.309000000000001</c:v>
                </c:pt>
                <c:pt idx="4">
                  <c:v>28.125</c:v>
                </c:pt>
                <c:pt idx="5">
                  <c:v>38.097000000000001</c:v>
                </c:pt>
                <c:pt idx="6">
                  <c:v>49.923999999999999</c:v>
                </c:pt>
                <c:pt idx="7">
                  <c:v>63.603999999999999</c:v>
                </c:pt>
                <c:pt idx="8">
                  <c:v>79.364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E2-47EC-B2AE-44766F7DF236}"/>
            </c:ext>
          </c:extLst>
        </c:ser>
        <c:ser>
          <c:idx val="1"/>
          <c:order val="1"/>
          <c:tx>
            <c:strRef>
              <c:f>'Compile Time'!$C$1</c:f>
              <c:strCache>
                <c:ptCount val="1"/>
                <c:pt idx="0">
                  <c:v>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C$2:$C$10</c:f>
              <c:numCache>
                <c:formatCode>General</c:formatCode>
                <c:ptCount val="9"/>
                <c:pt idx="0">
                  <c:v>8.2219999999999995</c:v>
                </c:pt>
                <c:pt idx="1">
                  <c:v>14.553000000000001</c:v>
                </c:pt>
                <c:pt idx="2">
                  <c:v>23.248999999999999</c:v>
                </c:pt>
                <c:pt idx="3">
                  <c:v>33.881</c:v>
                </c:pt>
                <c:pt idx="4">
                  <c:v>50.088000000000001</c:v>
                </c:pt>
                <c:pt idx="5">
                  <c:v>63.965000000000003</c:v>
                </c:pt>
                <c:pt idx="6">
                  <c:v>84.024000000000001</c:v>
                </c:pt>
                <c:pt idx="7">
                  <c:v>108.148</c:v>
                </c:pt>
                <c:pt idx="8">
                  <c:v>137.127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E2-47EC-B2AE-44766F7DF236}"/>
            </c:ext>
          </c:extLst>
        </c:ser>
        <c:ser>
          <c:idx val="2"/>
          <c:order val="2"/>
          <c:tx>
            <c:strRef>
              <c:f>'Compile Time'!$D$1</c:f>
              <c:strCache>
                <c:ptCount val="1"/>
                <c:pt idx="0">
                  <c:v>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D$2:$D$10</c:f>
              <c:numCache>
                <c:formatCode>General</c:formatCode>
                <c:ptCount val="9"/>
                <c:pt idx="0">
                  <c:v>12.782</c:v>
                </c:pt>
                <c:pt idx="1">
                  <c:v>23.363</c:v>
                </c:pt>
                <c:pt idx="2">
                  <c:v>36.865000000000002</c:v>
                </c:pt>
                <c:pt idx="3">
                  <c:v>55.317</c:v>
                </c:pt>
                <c:pt idx="4">
                  <c:v>76.409000000000006</c:v>
                </c:pt>
                <c:pt idx="5">
                  <c:v>104.857</c:v>
                </c:pt>
                <c:pt idx="6">
                  <c:v>139.53700000000001</c:v>
                </c:pt>
                <c:pt idx="7">
                  <c:v>179.99299999999999</c:v>
                </c:pt>
                <c:pt idx="8">
                  <c:v>228.014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8E2-47EC-B2AE-44766F7DF236}"/>
            </c:ext>
          </c:extLst>
        </c:ser>
        <c:ser>
          <c:idx val="3"/>
          <c:order val="3"/>
          <c:tx>
            <c:strRef>
              <c:f>'Compile Time'!$E$1</c:f>
              <c:strCache>
                <c:ptCount val="1"/>
                <c:pt idx="0">
                  <c:v>5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E$2:$E$10</c:f>
              <c:numCache>
                <c:formatCode>General</c:formatCode>
                <c:ptCount val="9"/>
                <c:pt idx="0">
                  <c:v>20.375</c:v>
                </c:pt>
                <c:pt idx="1">
                  <c:v>36.991999999999997</c:v>
                </c:pt>
                <c:pt idx="2">
                  <c:v>59.143999999999998</c:v>
                </c:pt>
                <c:pt idx="3">
                  <c:v>88.926000000000002</c:v>
                </c:pt>
                <c:pt idx="4">
                  <c:v>123.78100000000001</c:v>
                </c:pt>
                <c:pt idx="5">
                  <c:v>167.42699999999999</c:v>
                </c:pt>
                <c:pt idx="6">
                  <c:v>225.506</c:v>
                </c:pt>
                <c:pt idx="7">
                  <c:v>290.21300000000002</c:v>
                </c:pt>
                <c:pt idx="8">
                  <c:v>371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8E2-47EC-B2AE-44766F7DF236}"/>
            </c:ext>
          </c:extLst>
        </c:ser>
        <c:ser>
          <c:idx val="4"/>
          <c:order val="4"/>
          <c:tx>
            <c:strRef>
              <c:f>'Compile Time'!$F$1</c:f>
              <c:strCache>
                <c:ptCount val="1"/>
                <c:pt idx="0">
                  <c:v>6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F$2:$F$10</c:f>
              <c:numCache>
                <c:formatCode>General</c:formatCode>
                <c:ptCount val="9"/>
                <c:pt idx="0">
                  <c:v>32.087000000000003</c:v>
                </c:pt>
                <c:pt idx="1">
                  <c:v>61.572000000000003</c:v>
                </c:pt>
                <c:pt idx="2">
                  <c:v>94.888000000000005</c:v>
                </c:pt>
                <c:pt idx="3">
                  <c:v>140.52799999999999</c:v>
                </c:pt>
                <c:pt idx="4">
                  <c:v>196.83699999999999</c:v>
                </c:pt>
                <c:pt idx="5">
                  <c:v>267.31299999999999</c:v>
                </c:pt>
                <c:pt idx="6">
                  <c:v>357.774</c:v>
                </c:pt>
                <c:pt idx="7">
                  <c:v>467.34199999999998</c:v>
                </c:pt>
                <c:pt idx="8">
                  <c:v>594.087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8E2-47EC-B2AE-44766F7DF236}"/>
            </c:ext>
          </c:extLst>
        </c:ser>
        <c:ser>
          <c:idx val="5"/>
          <c:order val="5"/>
          <c:tx>
            <c:strRef>
              <c:f>'Compile Time'!$G$1</c:f>
              <c:strCache>
                <c:ptCount val="1"/>
                <c:pt idx="0">
                  <c:v>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G$2:$G$10</c:f>
              <c:numCache>
                <c:formatCode>General</c:formatCode>
                <c:ptCount val="9"/>
                <c:pt idx="0">
                  <c:v>50.357999999999997</c:v>
                </c:pt>
                <c:pt idx="1">
                  <c:v>91.674000000000007</c:v>
                </c:pt>
                <c:pt idx="2">
                  <c:v>146.39599999999999</c:v>
                </c:pt>
                <c:pt idx="3">
                  <c:v>216.41</c:v>
                </c:pt>
                <c:pt idx="4">
                  <c:v>307.14299999999997</c:v>
                </c:pt>
                <c:pt idx="5">
                  <c:v>423.108</c:v>
                </c:pt>
                <c:pt idx="6">
                  <c:v>565.67600000000004</c:v>
                </c:pt>
                <c:pt idx="7">
                  <c:v>738.33100000000002</c:v>
                </c:pt>
                <c:pt idx="8">
                  <c:v>937.605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8E2-47EC-B2AE-44766F7DF236}"/>
            </c:ext>
          </c:extLst>
        </c:ser>
        <c:ser>
          <c:idx val="6"/>
          <c:order val="6"/>
          <c:tx>
            <c:strRef>
              <c:f>'Compile Time'!$H$1</c:f>
              <c:strCache>
                <c:ptCount val="1"/>
                <c:pt idx="0">
                  <c:v>8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H$2:$H$10</c:f>
              <c:numCache>
                <c:formatCode>General</c:formatCode>
                <c:ptCount val="9"/>
                <c:pt idx="0">
                  <c:v>78.244</c:v>
                </c:pt>
                <c:pt idx="1">
                  <c:v>141.58199999999999</c:v>
                </c:pt>
                <c:pt idx="2">
                  <c:v>224.74600000000001</c:v>
                </c:pt>
                <c:pt idx="3">
                  <c:v>330.86900000000003</c:v>
                </c:pt>
                <c:pt idx="4">
                  <c:v>476.94600000000003</c:v>
                </c:pt>
                <c:pt idx="5">
                  <c:v>657.04499999999996</c:v>
                </c:pt>
                <c:pt idx="6">
                  <c:v>867.31399999999996</c:v>
                </c:pt>
                <c:pt idx="7">
                  <c:v>1133.106</c:v>
                </c:pt>
                <c:pt idx="8">
                  <c:v>1459.446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8E2-47EC-B2AE-44766F7DF236}"/>
            </c:ext>
          </c:extLst>
        </c:ser>
        <c:ser>
          <c:idx val="7"/>
          <c:order val="7"/>
          <c:tx>
            <c:strRef>
              <c:f>'Compile Time'!$I$1</c:f>
              <c:strCache>
                <c:ptCount val="1"/>
                <c:pt idx="0">
                  <c:v>9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I$2:$I$10</c:f>
              <c:numCache>
                <c:formatCode>General</c:formatCode>
                <c:ptCount val="9"/>
                <c:pt idx="0">
                  <c:v>126.003</c:v>
                </c:pt>
                <c:pt idx="1">
                  <c:v>216.39</c:v>
                </c:pt>
                <c:pt idx="2">
                  <c:v>346.74900000000002</c:v>
                </c:pt>
                <c:pt idx="3">
                  <c:v>516.947</c:v>
                </c:pt>
                <c:pt idx="4">
                  <c:v>729.60199999999998</c:v>
                </c:pt>
                <c:pt idx="5">
                  <c:v>999.71500000000003</c:v>
                </c:pt>
                <c:pt idx="6">
                  <c:v>1333.1220000000001</c:v>
                </c:pt>
                <c:pt idx="7">
                  <c:v>1733.4849999999999</c:v>
                </c:pt>
                <c:pt idx="8">
                  <c:v>2218.474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8E2-47EC-B2AE-44766F7DF236}"/>
            </c:ext>
          </c:extLst>
        </c:ser>
        <c:ser>
          <c:idx val="8"/>
          <c:order val="8"/>
          <c:tx>
            <c:strRef>
              <c:f>'Compile Time'!$J$1</c:f>
              <c:strCache>
                <c:ptCount val="1"/>
                <c:pt idx="0">
                  <c:v>10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il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ile Time'!$J$2:$J$10</c:f>
              <c:numCache>
                <c:formatCode>General</c:formatCode>
                <c:ptCount val="9"/>
                <c:pt idx="0">
                  <c:v>182.96899999999999</c:v>
                </c:pt>
                <c:pt idx="1">
                  <c:v>336.048</c:v>
                </c:pt>
                <c:pt idx="2">
                  <c:v>524.35599999999999</c:v>
                </c:pt>
                <c:pt idx="3">
                  <c:v>779.34699999999998</c:v>
                </c:pt>
                <c:pt idx="4">
                  <c:v>1110.9459999999999</c:v>
                </c:pt>
                <c:pt idx="5">
                  <c:v>1494.14</c:v>
                </c:pt>
                <c:pt idx="6">
                  <c:v>1981.5530000000001</c:v>
                </c:pt>
                <c:pt idx="7">
                  <c:v>2537.2220000000002</c:v>
                </c:pt>
                <c:pt idx="8">
                  <c:v>3261.121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8E2-47EC-B2AE-44766F7DF2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034399"/>
        <c:axId val="543300303"/>
      </c:lineChart>
      <c:catAx>
        <c:axId val="46503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3300303"/>
        <c:crosses val="autoZero"/>
        <c:auto val="1"/>
        <c:lblAlgn val="ctr"/>
        <c:lblOffset val="100"/>
        <c:noMultiLvlLbl val="0"/>
      </c:catAx>
      <c:valAx>
        <c:axId val="543300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mpile Time (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34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ompute Time'!$B$1</c:f>
              <c:strCache>
                <c:ptCount val="1"/>
                <c:pt idx="0">
                  <c:v>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B$2:$B$10</c:f>
              <c:numCache>
                <c:formatCode>General</c:formatCode>
                <c:ptCount val="9"/>
                <c:pt idx="0">
                  <c:v>1.3740000000000001</c:v>
                </c:pt>
                <c:pt idx="1">
                  <c:v>2.35</c:v>
                </c:pt>
                <c:pt idx="2">
                  <c:v>3.605</c:v>
                </c:pt>
                <c:pt idx="3">
                  <c:v>5.0839999999999996</c:v>
                </c:pt>
                <c:pt idx="4">
                  <c:v>6.7130000000000001</c:v>
                </c:pt>
                <c:pt idx="5">
                  <c:v>8.6379999999999999</c:v>
                </c:pt>
                <c:pt idx="6">
                  <c:v>10.792999999999999</c:v>
                </c:pt>
                <c:pt idx="7">
                  <c:v>13.193</c:v>
                </c:pt>
                <c:pt idx="8">
                  <c:v>15.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D2-4740-B44C-0DA95B1F678E}"/>
            </c:ext>
          </c:extLst>
        </c:ser>
        <c:ser>
          <c:idx val="1"/>
          <c:order val="1"/>
          <c:tx>
            <c:strRef>
              <c:f>'Compute Time'!$C$1</c:f>
              <c:strCache>
                <c:ptCount val="1"/>
                <c:pt idx="0">
                  <c:v>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C$2:$C$10</c:f>
              <c:numCache>
                <c:formatCode>General</c:formatCode>
                <c:ptCount val="9"/>
                <c:pt idx="0">
                  <c:v>1.9650000000000001</c:v>
                </c:pt>
                <c:pt idx="1">
                  <c:v>3.395</c:v>
                </c:pt>
                <c:pt idx="2">
                  <c:v>5.0709999999999997</c:v>
                </c:pt>
                <c:pt idx="3">
                  <c:v>7.0990000000000002</c:v>
                </c:pt>
                <c:pt idx="4">
                  <c:v>9.3119999999999994</c:v>
                </c:pt>
                <c:pt idx="5">
                  <c:v>11.897</c:v>
                </c:pt>
                <c:pt idx="6">
                  <c:v>14.784000000000001</c:v>
                </c:pt>
                <c:pt idx="7">
                  <c:v>18.324999999999999</c:v>
                </c:pt>
                <c:pt idx="8">
                  <c:v>21.204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D2-4740-B44C-0DA95B1F678E}"/>
            </c:ext>
          </c:extLst>
        </c:ser>
        <c:ser>
          <c:idx val="2"/>
          <c:order val="2"/>
          <c:tx>
            <c:strRef>
              <c:f>'Compute Time'!$D$1</c:f>
              <c:strCache>
                <c:ptCount val="1"/>
                <c:pt idx="0">
                  <c:v>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D$2:$D$10</c:f>
              <c:numCache>
                <c:formatCode>General</c:formatCode>
                <c:ptCount val="9"/>
                <c:pt idx="0">
                  <c:v>2.661</c:v>
                </c:pt>
                <c:pt idx="1">
                  <c:v>4.665</c:v>
                </c:pt>
                <c:pt idx="2">
                  <c:v>6.7640000000000002</c:v>
                </c:pt>
                <c:pt idx="3">
                  <c:v>9.282</c:v>
                </c:pt>
                <c:pt idx="4">
                  <c:v>12.381</c:v>
                </c:pt>
                <c:pt idx="5">
                  <c:v>15.635</c:v>
                </c:pt>
                <c:pt idx="6">
                  <c:v>19.329000000000001</c:v>
                </c:pt>
                <c:pt idx="7">
                  <c:v>23.154</c:v>
                </c:pt>
                <c:pt idx="8">
                  <c:v>27.536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D2-4740-B44C-0DA95B1F678E}"/>
            </c:ext>
          </c:extLst>
        </c:ser>
        <c:ser>
          <c:idx val="3"/>
          <c:order val="3"/>
          <c:tx>
            <c:strRef>
              <c:f>'Compute Time'!$E$1</c:f>
              <c:strCache>
                <c:ptCount val="1"/>
                <c:pt idx="0">
                  <c:v>5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E$2:$E$10</c:f>
              <c:numCache>
                <c:formatCode>General</c:formatCode>
                <c:ptCount val="9"/>
                <c:pt idx="0">
                  <c:v>3.6120000000000001</c:v>
                </c:pt>
                <c:pt idx="1">
                  <c:v>5.976</c:v>
                </c:pt>
                <c:pt idx="2">
                  <c:v>8.7799999999999994</c:v>
                </c:pt>
                <c:pt idx="3">
                  <c:v>11.911</c:v>
                </c:pt>
                <c:pt idx="4">
                  <c:v>15.638999999999999</c:v>
                </c:pt>
                <c:pt idx="5">
                  <c:v>19.803000000000001</c:v>
                </c:pt>
                <c:pt idx="6">
                  <c:v>24.138999999999999</c:v>
                </c:pt>
                <c:pt idx="7">
                  <c:v>28.704000000000001</c:v>
                </c:pt>
                <c:pt idx="8">
                  <c:v>34.215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D2-4740-B44C-0DA95B1F678E}"/>
            </c:ext>
          </c:extLst>
        </c:ser>
        <c:ser>
          <c:idx val="4"/>
          <c:order val="4"/>
          <c:tx>
            <c:strRef>
              <c:f>'Compute Time'!$F$1</c:f>
              <c:strCache>
                <c:ptCount val="1"/>
                <c:pt idx="0">
                  <c:v>6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F$2:$F$10</c:f>
              <c:numCache>
                <c:formatCode>General</c:formatCode>
                <c:ptCount val="9"/>
                <c:pt idx="0">
                  <c:v>4.6369999999999996</c:v>
                </c:pt>
                <c:pt idx="1">
                  <c:v>7.6029999999999998</c:v>
                </c:pt>
                <c:pt idx="2">
                  <c:v>11.010999999999999</c:v>
                </c:pt>
                <c:pt idx="3">
                  <c:v>15.087999999999999</c:v>
                </c:pt>
                <c:pt idx="4">
                  <c:v>19.396999999999998</c:v>
                </c:pt>
                <c:pt idx="5">
                  <c:v>24.498000000000001</c:v>
                </c:pt>
                <c:pt idx="6">
                  <c:v>29.885000000000002</c:v>
                </c:pt>
                <c:pt idx="7">
                  <c:v>36.018999999999998</c:v>
                </c:pt>
                <c:pt idx="8">
                  <c:v>42.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D2-4740-B44C-0DA95B1F678E}"/>
            </c:ext>
          </c:extLst>
        </c:ser>
        <c:ser>
          <c:idx val="5"/>
          <c:order val="5"/>
          <c:tx>
            <c:strRef>
              <c:f>'Compute Time'!$G$1</c:f>
              <c:strCache>
                <c:ptCount val="1"/>
                <c:pt idx="0">
                  <c:v>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G$2:$G$10</c:f>
              <c:numCache>
                <c:formatCode>General</c:formatCode>
                <c:ptCount val="9"/>
                <c:pt idx="0">
                  <c:v>5.7160000000000002</c:v>
                </c:pt>
                <c:pt idx="1">
                  <c:v>9.4809999999999999</c:v>
                </c:pt>
                <c:pt idx="2">
                  <c:v>13.506</c:v>
                </c:pt>
                <c:pt idx="3">
                  <c:v>18.422000000000001</c:v>
                </c:pt>
                <c:pt idx="4">
                  <c:v>23.768000000000001</c:v>
                </c:pt>
                <c:pt idx="5">
                  <c:v>30.558</c:v>
                </c:pt>
                <c:pt idx="6">
                  <c:v>37.197000000000003</c:v>
                </c:pt>
                <c:pt idx="7">
                  <c:v>44.048000000000002</c:v>
                </c:pt>
                <c:pt idx="8">
                  <c:v>51.597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D2-4740-B44C-0DA95B1F678E}"/>
            </c:ext>
          </c:extLst>
        </c:ser>
        <c:ser>
          <c:idx val="6"/>
          <c:order val="6"/>
          <c:tx>
            <c:strRef>
              <c:f>'Compute Time'!$H$1</c:f>
              <c:strCache>
                <c:ptCount val="1"/>
                <c:pt idx="0">
                  <c:v>8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H$2:$H$10</c:f>
              <c:numCache>
                <c:formatCode>General</c:formatCode>
                <c:ptCount val="9"/>
                <c:pt idx="0">
                  <c:v>7.0830000000000002</c:v>
                </c:pt>
                <c:pt idx="1">
                  <c:v>11.381</c:v>
                </c:pt>
                <c:pt idx="2">
                  <c:v>17.102</c:v>
                </c:pt>
                <c:pt idx="3">
                  <c:v>22.422999999999998</c:v>
                </c:pt>
                <c:pt idx="4">
                  <c:v>28.942</c:v>
                </c:pt>
                <c:pt idx="5">
                  <c:v>36.024999999999999</c:v>
                </c:pt>
                <c:pt idx="6">
                  <c:v>44.424999999999997</c:v>
                </c:pt>
                <c:pt idx="7">
                  <c:v>53.264000000000003</c:v>
                </c:pt>
                <c:pt idx="8">
                  <c:v>61.768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2D2-4740-B44C-0DA95B1F678E}"/>
            </c:ext>
          </c:extLst>
        </c:ser>
        <c:ser>
          <c:idx val="7"/>
          <c:order val="7"/>
          <c:tx>
            <c:strRef>
              <c:f>'Compute Time'!$I$1</c:f>
              <c:strCache>
                <c:ptCount val="1"/>
                <c:pt idx="0">
                  <c:v>9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I$2:$I$10</c:f>
              <c:numCache>
                <c:formatCode>General</c:formatCode>
                <c:ptCount val="9"/>
                <c:pt idx="0">
                  <c:v>8.5220000000000002</c:v>
                </c:pt>
                <c:pt idx="1">
                  <c:v>14.483000000000001</c:v>
                </c:pt>
                <c:pt idx="2">
                  <c:v>20.190999999999999</c:v>
                </c:pt>
                <c:pt idx="3">
                  <c:v>26.501999999999999</c:v>
                </c:pt>
                <c:pt idx="4">
                  <c:v>34.402000000000001</c:v>
                </c:pt>
                <c:pt idx="5">
                  <c:v>42.859000000000002</c:v>
                </c:pt>
                <c:pt idx="6">
                  <c:v>52.307000000000002</c:v>
                </c:pt>
                <c:pt idx="7">
                  <c:v>63.643999999999998</c:v>
                </c:pt>
                <c:pt idx="8">
                  <c:v>72.933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2D2-4740-B44C-0DA95B1F678E}"/>
            </c:ext>
          </c:extLst>
        </c:ser>
        <c:ser>
          <c:idx val="8"/>
          <c:order val="8"/>
          <c:tx>
            <c:strRef>
              <c:f>'Compute Time'!$J$1</c:f>
              <c:strCache>
                <c:ptCount val="1"/>
                <c:pt idx="0">
                  <c:v>10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ompute Time'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'Compute Time'!$J$2:$J$10</c:f>
              <c:numCache>
                <c:formatCode>General</c:formatCode>
                <c:ptCount val="9"/>
                <c:pt idx="0">
                  <c:v>10.192</c:v>
                </c:pt>
                <c:pt idx="1">
                  <c:v>16.652999999999999</c:v>
                </c:pt>
                <c:pt idx="2">
                  <c:v>24.166</c:v>
                </c:pt>
                <c:pt idx="3">
                  <c:v>31.771000000000001</c:v>
                </c:pt>
                <c:pt idx="4">
                  <c:v>40.837000000000003</c:v>
                </c:pt>
                <c:pt idx="5">
                  <c:v>51.082999999999998</c:v>
                </c:pt>
                <c:pt idx="6">
                  <c:v>61.875999999999998</c:v>
                </c:pt>
                <c:pt idx="7">
                  <c:v>73.703999999999994</c:v>
                </c:pt>
                <c:pt idx="8">
                  <c:v>86.736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2D2-4740-B44C-0DA95B1F6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034399"/>
        <c:axId val="543300303"/>
      </c:lineChart>
      <c:catAx>
        <c:axId val="46503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3300303"/>
        <c:crosses val="autoZero"/>
        <c:auto val="1"/>
        <c:lblAlgn val="ctr"/>
        <c:lblOffset val="100"/>
        <c:noMultiLvlLbl val="0"/>
      </c:catAx>
      <c:valAx>
        <c:axId val="543300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mpute Time (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34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Constraints!$B$1</c:f>
              <c:strCache>
                <c:ptCount val="1"/>
                <c:pt idx="0">
                  <c:v>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B$2:$B$10</c:f>
              <c:numCache>
                <c:formatCode>General</c:formatCode>
                <c:ptCount val="9"/>
                <c:pt idx="0">
                  <c:v>105621</c:v>
                </c:pt>
                <c:pt idx="1">
                  <c:v>187600</c:v>
                </c:pt>
                <c:pt idx="2">
                  <c:v>289881</c:v>
                </c:pt>
                <c:pt idx="3">
                  <c:v>413094</c:v>
                </c:pt>
                <c:pt idx="4">
                  <c:v>557869</c:v>
                </c:pt>
                <c:pt idx="5">
                  <c:v>724836</c:v>
                </c:pt>
                <c:pt idx="6">
                  <c:v>914625</c:v>
                </c:pt>
                <c:pt idx="7">
                  <c:v>1127866</c:v>
                </c:pt>
                <c:pt idx="8">
                  <c:v>1365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AAC-4B1F-9936-F64A788B2E18}"/>
            </c:ext>
          </c:extLst>
        </c:ser>
        <c:ser>
          <c:idx val="1"/>
          <c:order val="1"/>
          <c:tx>
            <c:strRef>
              <c:f>Constraints!$C$1</c:f>
              <c:strCache>
                <c:ptCount val="1"/>
                <c:pt idx="0">
                  <c:v>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C$2:$C$10</c:f>
              <c:numCache>
                <c:formatCode>General</c:formatCode>
                <c:ptCount val="9"/>
                <c:pt idx="0">
                  <c:v>159542</c:v>
                </c:pt>
                <c:pt idx="1">
                  <c:v>276623</c:v>
                </c:pt>
                <c:pt idx="2">
                  <c:v>419876</c:v>
                </c:pt>
                <c:pt idx="3">
                  <c:v>590285</c:v>
                </c:pt>
                <c:pt idx="4">
                  <c:v>788834</c:v>
                </c:pt>
                <c:pt idx="5">
                  <c:v>1016507</c:v>
                </c:pt>
                <c:pt idx="6">
                  <c:v>1274288</c:v>
                </c:pt>
                <c:pt idx="7">
                  <c:v>1563161</c:v>
                </c:pt>
                <c:pt idx="8">
                  <c:v>1884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AAC-4B1F-9936-F64A788B2E18}"/>
            </c:ext>
          </c:extLst>
        </c:ser>
        <c:ser>
          <c:idx val="2"/>
          <c:order val="2"/>
          <c:tx>
            <c:strRef>
              <c:f>Constraints!$D$1</c:f>
              <c:strCache>
                <c:ptCount val="1"/>
                <c:pt idx="0">
                  <c:v>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D$2:$D$10</c:f>
              <c:numCache>
                <c:formatCode>General</c:formatCode>
                <c:ptCount val="9"/>
                <c:pt idx="0">
                  <c:v>225353</c:v>
                </c:pt>
                <c:pt idx="1">
                  <c:v>384860</c:v>
                </c:pt>
                <c:pt idx="2">
                  <c:v>577397</c:v>
                </c:pt>
                <c:pt idx="3">
                  <c:v>804374</c:v>
                </c:pt>
                <c:pt idx="4">
                  <c:v>1067201</c:v>
                </c:pt>
                <c:pt idx="5">
                  <c:v>1367288</c:v>
                </c:pt>
                <c:pt idx="6">
                  <c:v>1706045</c:v>
                </c:pt>
                <c:pt idx="7">
                  <c:v>2084882</c:v>
                </c:pt>
                <c:pt idx="8">
                  <c:v>2505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AAC-4B1F-9936-F64A788B2E18}"/>
            </c:ext>
          </c:extLst>
        </c:ser>
        <c:ser>
          <c:idx val="3"/>
          <c:order val="3"/>
          <c:tx>
            <c:strRef>
              <c:f>Constraints!$E$1</c:f>
              <c:strCache>
                <c:ptCount val="1"/>
                <c:pt idx="0">
                  <c:v>5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E$2:$E$10</c:f>
              <c:numCache>
                <c:formatCode>General</c:formatCode>
                <c:ptCount val="9"/>
                <c:pt idx="0">
                  <c:v>305004</c:v>
                </c:pt>
                <c:pt idx="1">
                  <c:v>515461</c:v>
                </c:pt>
                <c:pt idx="2">
                  <c:v>766938</c:v>
                </c:pt>
                <c:pt idx="3">
                  <c:v>1061343</c:v>
                </c:pt>
                <c:pt idx="4">
                  <c:v>1400584</c:v>
                </c:pt>
                <c:pt idx="5">
                  <c:v>1786569</c:v>
                </c:pt>
                <c:pt idx="6">
                  <c:v>2221206</c:v>
                </c:pt>
                <c:pt idx="7">
                  <c:v>2706403</c:v>
                </c:pt>
                <c:pt idx="8">
                  <c:v>3244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AAC-4B1F-9936-F64A788B2E18}"/>
            </c:ext>
          </c:extLst>
        </c:ser>
        <c:ser>
          <c:idx val="4"/>
          <c:order val="4"/>
          <c:tx>
            <c:strRef>
              <c:f>Constraints!$F$1</c:f>
              <c:strCache>
                <c:ptCount val="1"/>
                <c:pt idx="0">
                  <c:v>6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F$2:$F$10</c:f>
              <c:numCache>
                <c:formatCode>General</c:formatCode>
                <c:ptCount val="9"/>
                <c:pt idx="0">
                  <c:v>400733</c:v>
                </c:pt>
                <c:pt idx="1">
                  <c:v>672008</c:v>
                </c:pt>
                <c:pt idx="2">
                  <c:v>993569</c:v>
                </c:pt>
                <c:pt idx="3">
                  <c:v>1367894</c:v>
                </c:pt>
                <c:pt idx="4">
                  <c:v>1797461</c:v>
                </c:pt>
                <c:pt idx="5">
                  <c:v>2284748</c:v>
                </c:pt>
                <c:pt idx="6">
                  <c:v>2832233</c:v>
                </c:pt>
                <c:pt idx="7">
                  <c:v>3442394</c:v>
                </c:pt>
                <c:pt idx="8">
                  <c:v>4117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AAC-4B1F-9936-F64A788B2E18}"/>
            </c:ext>
          </c:extLst>
        </c:ser>
        <c:ser>
          <c:idx val="5"/>
          <c:order val="5"/>
          <c:tx>
            <c:strRef>
              <c:f>Constraints!$G$1</c:f>
              <c:strCache>
                <c:ptCount val="1"/>
                <c:pt idx="0">
                  <c:v>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G$2:$G$10</c:f>
              <c:numCache>
                <c:formatCode>General</c:formatCode>
                <c:ptCount val="9"/>
                <c:pt idx="0">
                  <c:v>515066</c:v>
                </c:pt>
                <c:pt idx="1">
                  <c:v>858515</c:v>
                </c:pt>
                <c:pt idx="2">
                  <c:v>1262936</c:v>
                </c:pt>
                <c:pt idx="3">
                  <c:v>1731449</c:v>
                </c:pt>
                <c:pt idx="4">
                  <c:v>2267174</c:v>
                </c:pt>
                <c:pt idx="5">
                  <c:v>2873231</c:v>
                </c:pt>
                <c:pt idx="6">
                  <c:v>3552740</c:v>
                </c:pt>
                <c:pt idx="7">
                  <c:v>4308821</c:v>
                </c:pt>
                <c:pt idx="8">
                  <c:v>5144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AAC-4B1F-9936-F64A788B2E18}"/>
            </c:ext>
          </c:extLst>
        </c:ser>
        <c:ser>
          <c:idx val="6"/>
          <c:order val="6"/>
          <c:tx>
            <c:strRef>
              <c:f>Constraints!$H$1</c:f>
              <c:strCache>
                <c:ptCount val="1"/>
                <c:pt idx="0">
                  <c:v>8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H$2:$H$10</c:f>
              <c:numCache>
                <c:formatCode>General</c:formatCode>
                <c:ptCount val="9"/>
                <c:pt idx="0">
                  <c:v>650817</c:v>
                </c:pt>
                <c:pt idx="1">
                  <c:v>1079428</c:v>
                </c:pt>
                <c:pt idx="2">
                  <c:v>1581261</c:v>
                </c:pt>
                <c:pt idx="3">
                  <c:v>2160150</c:v>
                </c:pt>
                <c:pt idx="4">
                  <c:v>2819929</c:v>
                </c:pt>
                <c:pt idx="5">
                  <c:v>3564432</c:v>
                </c:pt>
                <c:pt idx="6">
                  <c:v>4397493</c:v>
                </c:pt>
                <c:pt idx="7">
                  <c:v>5322946</c:v>
                </c:pt>
                <c:pt idx="8">
                  <c:v>6344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AAC-4B1F-9936-F64A788B2E18}"/>
            </c:ext>
          </c:extLst>
        </c:ser>
        <c:ser>
          <c:idx val="7"/>
          <c:order val="7"/>
          <c:tx>
            <c:strRef>
              <c:f>Constraints!$I$1</c:f>
              <c:strCache>
                <c:ptCount val="1"/>
                <c:pt idx="0">
                  <c:v>9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I$2:$I$10</c:f>
              <c:numCache>
                <c:formatCode>General</c:formatCode>
                <c:ptCount val="9"/>
                <c:pt idx="0">
                  <c:v>811088</c:v>
                </c:pt>
                <c:pt idx="1">
                  <c:v>1339625</c:v>
                </c:pt>
                <c:pt idx="2">
                  <c:v>1955342</c:v>
                </c:pt>
                <c:pt idx="3">
                  <c:v>2662859</c:v>
                </c:pt>
                <c:pt idx="4">
                  <c:v>3466796</c:v>
                </c:pt>
                <c:pt idx="5">
                  <c:v>4371773</c:v>
                </c:pt>
                <c:pt idx="6">
                  <c:v>5382410</c:v>
                </c:pt>
                <c:pt idx="7">
                  <c:v>6503327</c:v>
                </c:pt>
                <c:pt idx="8">
                  <c:v>7739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AAC-4B1F-9936-F64A788B2E18}"/>
            </c:ext>
          </c:extLst>
        </c:ser>
        <c:ser>
          <c:idx val="8"/>
          <c:order val="8"/>
          <c:tx>
            <c:strRef>
              <c:f>Constraints!$J$1</c:f>
              <c:strCache>
                <c:ptCount val="1"/>
                <c:pt idx="0">
                  <c:v>10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Constraints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numCache>
            </c:numRef>
          </c:cat>
          <c:val>
            <c:numRef>
              <c:f>Constraints!$J$2:$J$10</c:f>
              <c:numCache>
                <c:formatCode>General</c:formatCode>
                <c:ptCount val="9"/>
                <c:pt idx="0">
                  <c:v>999269</c:v>
                </c:pt>
                <c:pt idx="1">
                  <c:v>1644416</c:v>
                </c:pt>
                <c:pt idx="2">
                  <c:v>2392553</c:v>
                </c:pt>
                <c:pt idx="3">
                  <c:v>3249158</c:v>
                </c:pt>
                <c:pt idx="4">
                  <c:v>4219709</c:v>
                </c:pt>
                <c:pt idx="5">
                  <c:v>5309684</c:v>
                </c:pt>
                <c:pt idx="6">
                  <c:v>6524561</c:v>
                </c:pt>
                <c:pt idx="7">
                  <c:v>7869818</c:v>
                </c:pt>
                <c:pt idx="8">
                  <c:v>9350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AAC-4B1F-9936-F64A788B2E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5034399"/>
        <c:axId val="543300303"/>
      </c:lineChart>
      <c:catAx>
        <c:axId val="46503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3300303"/>
        <c:crosses val="autoZero"/>
        <c:auto val="1"/>
        <c:lblAlgn val="ctr"/>
        <c:lblOffset val="100"/>
        <c:noMultiLvlLbl val="0"/>
      </c:catAx>
      <c:valAx>
        <c:axId val="543300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nstraints (x 10</a:t>
                </a:r>
                <a:r>
                  <a:rPr lang="en-US" baseline="30000" dirty="0"/>
                  <a:t>6</a:t>
                </a:r>
                <a:r>
                  <a:rPr lang="en-US" dirty="0"/>
                  <a:t>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34399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25568" y="189833"/>
            <a:ext cx="3496595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338830" y="189833"/>
            <a:ext cx="2208376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#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7137" cy="51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9938"/>
            <a:ext cx="68167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685" y="4862015"/>
            <a:ext cx="5205932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2392"/>
            <a:ext cx="3077137" cy="5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0" tIns="49521" rIns="99040" bIns="4952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17984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155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ch subcategory awarded five grades</a:t>
            </a:r>
          </a:p>
          <a:p>
            <a:r>
              <a:rPr lang="en-US" dirty="0"/>
              <a:t>grades based on qualitative comparison based on litera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4001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e clear lines</a:t>
            </a:r>
          </a:p>
          <a:p>
            <a:r>
              <a:rPr lang="en-US" dirty="0"/>
              <a:t>security/practicality tradeof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73659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70703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lver for linear optimizations</a:t>
            </a:r>
          </a:p>
          <a:p>
            <a:r>
              <a:rPr lang="en-US" dirty="0"/>
              <a:t>based on a preprocessing </a:t>
            </a:r>
            <a:r>
              <a:rPr lang="en-US" dirty="0" err="1"/>
              <a:t>zksna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1669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timization remains most common problem by far</a:t>
            </a:r>
          </a:p>
          <a:p>
            <a:r>
              <a:rPr lang="en-US" dirty="0"/>
              <a:t>can be seen by original thesis top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0448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near programming used by all studies</a:t>
            </a:r>
          </a:p>
          <a:p>
            <a:r>
              <a:rPr lang="en-US" dirty="0"/>
              <a:t>maximize subject to inequality constrai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5714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egrated development environment for </a:t>
            </a:r>
            <a:r>
              <a:rPr lang="en-US" dirty="0" err="1"/>
              <a:t>zkSNARK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0220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asurement parameters were variables and conditions of probl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36203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515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verifiable computation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 dirty="0"/>
              <a:t>a way to off-chain expensive and sensitive work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 dirty="0"/>
              <a:t>while maintaining security guarantees of the block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07506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ory is sound</a:t>
            </a:r>
          </a:p>
          <a:p>
            <a:r>
              <a:rPr lang="en-US" dirty="0"/>
              <a:t>works for basic ex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46730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actively developed and might become more viable in the future </a:t>
            </a:r>
          </a:p>
          <a:p>
            <a:pPr lvl="0"/>
            <a:r>
              <a:rPr lang="en-US" dirty="0"/>
              <a:t>competing technologies exi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3748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16725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937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blockchain-based …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driven by ongoing projects at industry partne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focused only on optimization use case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not really focused on privac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nalysis and </a:t>
            </a:r>
            <a:r>
              <a:rPr lang="en-US" dirty="0" err="1"/>
              <a:t>impl</a:t>
            </a:r>
            <a:r>
              <a:rPr lang="en-US" dirty="0"/>
              <a:t> …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dea driven by current research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works for all computation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privacy as a first concer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4190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165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dirty="0"/>
              <a:t>conducting literature analysis on current state of </a:t>
            </a:r>
            <a:r>
              <a:rPr lang="en-US" dirty="0" err="1"/>
              <a:t>bc</a:t>
            </a:r>
            <a:r>
              <a:rPr lang="en-US" dirty="0"/>
              <a:t> in </a:t>
            </a:r>
            <a:r>
              <a:rPr lang="en-US" dirty="0" err="1"/>
              <a:t>ei</a:t>
            </a: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incidentally answered, because we now know about requirement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an also be answered by literature analysis but for </a:t>
            </a:r>
            <a:r>
              <a:rPr lang="en-US" dirty="0" err="1"/>
              <a:t>vc</a:t>
            </a: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little more work, deals with implementation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dirty="0"/>
              <a:t>first software framework to run </a:t>
            </a:r>
            <a:r>
              <a:rPr lang="en-US" dirty="0" err="1"/>
              <a:t>vc</a:t>
            </a:r>
            <a:endParaRPr lang="en-US" dirty="0"/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dirty="0"/>
              <a:t>test framework performance to gauge usefulness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ecause we already looked at use cases, we can cross first two </a:t>
            </a:r>
            <a:r>
              <a:rPr lang="en-US" b="1" dirty="0" err="1"/>
              <a:t>rq’s</a:t>
            </a:r>
            <a:r>
              <a:rPr lang="en-US" b="1" dirty="0"/>
              <a:t> of our li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13967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rusted Oracles: added trust mechanism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 dirty="0"/>
              <a:t>IOC: monetary rewards for correct computa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 dirty="0"/>
              <a:t>TEEs: special hardwa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baseline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baseline="0" dirty="0"/>
              <a:t>ZKPs: mathematical proof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 dirty="0"/>
              <a:t>Preprocessing: require key exchange between participan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 dirty="0"/>
              <a:t>Transparent: require no key exchan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baseline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baseline="0" dirty="0"/>
              <a:t>MPC: jointly execute secret comput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 dirty="0"/>
              <a:t>LSS: polynomial interpol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/>
              <a:t>other forms exist but not for block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2104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rrectness of results depends on aggregation 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117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1567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59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Relationship Id="rId9" Type="http://schemas.openxmlformats.org/officeDocument/2006/relationships/hyperlink" Target="http://wwwmatthes.in.tum.de/" TargetMode="Externa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16" y="2"/>
            <a:ext cx="12192000" cy="685799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4196080"/>
          </a:xfrm>
          <a:prstGeom prst="rect">
            <a:avLst/>
          </a:prstGeom>
          <a:gradFill flip="none" rotWithShape="1">
            <a:gsLst>
              <a:gs pos="23000">
                <a:schemeClr val="bg1">
                  <a:alpha val="85000"/>
                </a:schemeClr>
              </a:gs>
              <a:gs pos="93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31371" y="3538641"/>
            <a:ext cx="11432843" cy="679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144000" bIns="72000" anchor="b" anchorCtr="0">
            <a:spAutoFit/>
          </a:bodyPr>
          <a:lstStyle>
            <a:lvl1pPr marL="180000" algn="l">
              <a:defRPr sz="3000" b="0" i="0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noProof="0" dirty="0"/>
              <a:t>Edit Titl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2" y="4211796"/>
            <a:ext cx="11432841" cy="3385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>
            <a:spAutoFit/>
          </a:bodyPr>
          <a:lstStyle>
            <a:lvl1pPr marL="180000" indent="0">
              <a:buFontTx/>
              <a:buNone/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Presenter, Date, Loc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1" y="398812"/>
            <a:ext cx="997527" cy="32004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  <p:sp>
        <p:nvSpPr>
          <p:cNvPr id="25" name="Textfeld 24"/>
          <p:cNvSpPr txBox="1"/>
          <p:nvPr userDrawn="1"/>
        </p:nvSpPr>
        <p:spPr>
          <a:xfrm>
            <a:off x="425454" y="4643381"/>
            <a:ext cx="11438759" cy="12252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252000" tIns="180000" rIns="180000" bIns="180000" rtlCol="0">
            <a:spAutoFit/>
          </a:bodyPr>
          <a:lstStyle/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Chair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Software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Engineering for Business Information Systems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(sebis) </a:t>
            </a:r>
          </a:p>
          <a:p>
            <a:pPr marL="0" indent="0"/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Faculty of</a:t>
            </a:r>
            <a:r>
              <a:rPr lang="en-US" sz="1400" b="0" i="0" kern="1200" baseline="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en-US" sz="1400" b="0" i="0" kern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/>
              </a:rPr>
              <a:t>Informatics</a:t>
            </a:r>
          </a:p>
          <a:p>
            <a:pPr marL="0" indent="0"/>
            <a:r>
              <a:rPr lang="en-US" sz="1400" b="0" i="0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Technische</a:t>
            </a:r>
            <a:r>
              <a:rPr lang="en-US" sz="1400" b="0" i="0" kern="1200" baseline="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 Universität München</a:t>
            </a:r>
            <a:endParaRPr lang="en-US" sz="1400" b="0" i="0" kern="1200" noProof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  <a:p>
            <a:pPr marL="0" indent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u="sng" kern="1200" noProof="1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/>
              </a:rPr>
              <a:t>wwwmatthes.in.tum.de</a:t>
            </a:r>
            <a:endParaRPr lang="en-US" sz="1400" b="0" i="0" u="sng" kern="1200" dirty="0" err="1">
              <a:solidFill>
                <a:schemeClr val="bg1">
                  <a:lumMod val="50000"/>
                </a:schemeClr>
              </a:solidFill>
              <a:latin typeface="Arial" charset="0"/>
              <a:ea typeface="+mn-ea"/>
              <a:cs typeface="Arial"/>
            </a:endParaRP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5" y="981076"/>
            <a:ext cx="11523135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80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FF0EA78-1210-4311-ACBD-A93266125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99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FF0EA78-1210-4311-ACBD-A93266125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 descr="Gebaeude_Fahne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7384"/>
            <a:ext cx="12192000" cy="68936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/>
          <p:cNvSpPr/>
          <p:nvPr userDrawn="1"/>
        </p:nvSpPr>
        <p:spPr>
          <a:xfrm>
            <a:off x="767407" y="1743185"/>
            <a:ext cx="3240361" cy="474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+mn-lt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370" y="2024110"/>
            <a:ext cx="682753" cy="359665"/>
          </a:xfrm>
          <a:prstGeom prst="rect">
            <a:avLst/>
          </a:prstGeom>
        </p:spPr>
      </p:pic>
      <p:pic>
        <p:nvPicPr>
          <p:cNvPr id="22" name="Bild 10" descr="sebis-Logo.gif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009" y="2514436"/>
            <a:ext cx="720000" cy="230880"/>
          </a:xfrm>
          <a:prstGeom prst="rect">
            <a:avLst/>
          </a:prstGeom>
        </p:spPr>
      </p:pic>
      <p:sp>
        <p:nvSpPr>
          <p:cNvPr id="24" name="Textfeld 23"/>
          <p:cNvSpPr txBox="1"/>
          <p:nvPr userDrawn="1"/>
        </p:nvSpPr>
        <p:spPr>
          <a:xfrm>
            <a:off x="1040407" y="4123820"/>
            <a:ext cx="2751118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noProof="1">
                <a:latin typeface="+mn-lt"/>
              </a:rPr>
              <a:t>Technische Universität München</a:t>
            </a:r>
          </a:p>
          <a:p>
            <a:r>
              <a:rPr lang="en-US" sz="1050" noProof="1">
                <a:latin typeface="+mn-lt"/>
              </a:rPr>
              <a:t>Faculty of Informatics</a:t>
            </a:r>
          </a:p>
          <a:p>
            <a:r>
              <a:rPr lang="en-US" sz="1050" noProof="1">
                <a:latin typeface="+mn-lt"/>
              </a:rPr>
              <a:t>Chair of Software Engineering for Business Information Systems</a:t>
            </a:r>
          </a:p>
          <a:p>
            <a:endParaRPr lang="en-US" sz="1050" noProof="1">
              <a:latin typeface="+mn-lt"/>
            </a:endParaRPr>
          </a:p>
          <a:p>
            <a:r>
              <a:rPr lang="en-US" sz="1050" noProof="1">
                <a:latin typeface="+mn-lt"/>
              </a:rPr>
              <a:t>Boltzmannstraße 3</a:t>
            </a:r>
          </a:p>
          <a:p>
            <a:r>
              <a:rPr lang="en-US" sz="1050" noProof="1">
                <a:latin typeface="+mn-lt"/>
              </a:rPr>
              <a:t>85748 Garching bei</a:t>
            </a:r>
            <a:r>
              <a:rPr lang="en-US" sz="1050" baseline="0" noProof="1">
                <a:latin typeface="+mn-lt"/>
              </a:rPr>
              <a:t> München</a:t>
            </a:r>
          </a:p>
          <a:p>
            <a:endParaRPr lang="en-US" sz="1050" baseline="0" noProof="1">
              <a:latin typeface="+mn-lt"/>
            </a:endParaRPr>
          </a:p>
          <a:p>
            <a:pPr>
              <a:tabLst>
                <a:tab pos="358775" algn="l"/>
              </a:tabLst>
            </a:pPr>
            <a:r>
              <a:rPr lang="en-US" sz="1050" baseline="0" noProof="1">
                <a:latin typeface="+mn-lt"/>
              </a:rPr>
              <a:t>Tel	+49.89.289.</a:t>
            </a:r>
          </a:p>
          <a:p>
            <a:pPr>
              <a:tabLst>
                <a:tab pos="358775" algn="l"/>
              </a:tabLst>
            </a:pPr>
            <a:r>
              <a:rPr lang="en-US" sz="1050" baseline="0" noProof="1">
                <a:latin typeface="+mn-lt"/>
              </a:rPr>
              <a:t>Fax	+49.89.289.17136</a:t>
            </a:r>
          </a:p>
          <a:p>
            <a:endParaRPr lang="en-US" sz="1050" baseline="0" noProof="1">
              <a:latin typeface="+mn-lt"/>
            </a:endParaRPr>
          </a:p>
          <a:p>
            <a:endParaRPr lang="en-US" sz="1050" baseline="0" noProof="1">
              <a:latin typeface="+mn-lt"/>
            </a:endParaRPr>
          </a:p>
          <a:p>
            <a:r>
              <a:rPr lang="en-US" sz="1050" baseline="0" noProof="1">
                <a:latin typeface="+mn-lt"/>
                <a:hlinkClick r:id="rId9"/>
              </a:rPr>
              <a:t>wwwmatthes.in.tum.de</a:t>
            </a:r>
            <a:endParaRPr lang="en-US" sz="1050" noProof="1">
              <a:latin typeface="+mn-lt"/>
            </a:endParaRPr>
          </a:p>
        </p:txBody>
      </p:sp>
      <p:sp>
        <p:nvSpPr>
          <p:cNvPr id="26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160429" y="3486197"/>
            <a:ext cx="2485288" cy="21949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FontTx/>
              <a:buNone/>
              <a:defRPr sz="1400" b="1"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&lt;Name&gt;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35" y="3277001"/>
            <a:ext cx="2484681" cy="1829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50">
                <a:latin typeface="+mn-lt"/>
              </a:defRPr>
            </a:lvl1pPr>
          </a:lstStyle>
          <a:p>
            <a:pPr lvl="0"/>
            <a:r>
              <a:rPr lang="en-US" noProof="0" dirty="0"/>
              <a:t>&lt;Academic degree&gt;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24469" y="5454244"/>
            <a:ext cx="1293429" cy="1333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aseline="0">
                <a:latin typeface="+mn-lt"/>
              </a:defRPr>
            </a:lvl1pPr>
          </a:lstStyle>
          <a:p>
            <a:pPr lvl="0"/>
            <a:r>
              <a:rPr lang="en-US" noProof="0" dirty="0"/>
              <a:t>&lt;Phone&gt;</a:t>
            </a:r>
          </a:p>
        </p:txBody>
      </p:sp>
      <p:sp>
        <p:nvSpPr>
          <p:cNvPr id="29" name="Textplatzhalter 24"/>
          <p:cNvSpPr>
            <a:spLocks noGrp="1"/>
          </p:cNvSpPr>
          <p:nvPr>
            <p:ph type="body" sz="quarter" idx="16" hasCustomPrompt="1"/>
          </p:nvPr>
        </p:nvSpPr>
        <p:spPr>
          <a:xfrm>
            <a:off x="1159115" y="5932082"/>
            <a:ext cx="2452083" cy="131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50">
                <a:latin typeface="+mn-lt"/>
              </a:defRPr>
            </a:lvl1pPr>
          </a:lstStyle>
          <a:p>
            <a:pPr lvl="0"/>
            <a:r>
              <a:rPr lang="en-US" noProof="0" dirty="0"/>
              <a:t>&lt;E-Mail&gt;</a:t>
            </a:r>
          </a:p>
        </p:txBody>
      </p:sp>
      <p:sp>
        <p:nvSpPr>
          <p:cNvPr id="30" name="Inhaltsplatzhalter 31"/>
          <p:cNvSpPr>
            <a:spLocks noGrp="1"/>
          </p:cNvSpPr>
          <p:nvPr>
            <p:ph sz="quarter" idx="18" hasCustomPrompt="1"/>
          </p:nvPr>
        </p:nvSpPr>
        <p:spPr>
          <a:xfrm>
            <a:off x="1161091" y="3704994"/>
            <a:ext cx="2502054" cy="211455"/>
          </a:xfrm>
          <a:prstGeom prst="rect">
            <a:avLst/>
          </a:prstGeom>
        </p:spPr>
        <p:txBody>
          <a:bodyPr lIns="0" tIns="0" rIns="0" bIns="0"/>
          <a:lstStyle>
            <a:lvl1pPr>
              <a:defRPr sz="1050"/>
            </a:lvl1pPr>
          </a:lstStyle>
          <a:p>
            <a:pPr lvl="0"/>
            <a:r>
              <a:rPr lang="en-US" noProof="0" dirty="0"/>
              <a:t>&lt;Position&gt;</a:t>
            </a:r>
          </a:p>
        </p:txBody>
      </p:sp>
    </p:spTree>
    <p:extLst>
      <p:ext uri="{BB962C8B-B14F-4D97-AF65-F5344CB8AC3E}">
        <p14:creationId xmlns:p14="http://schemas.microsoft.com/office/powerpoint/2010/main" val="31904513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Bernd Steinkopf | Analysis and Implementation of Verifiable Computation Techniques for Energy Blockchain Applications | 14.12.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68017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  <a:noFill/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AFD419-F1F4-514A-8F63-C588A23143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CF4125-9FA7-BC47-8D3A-83BD3CF5B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E5571F-FB09-514A-BAC5-6C625B74E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434" y="980728"/>
            <a:ext cx="11523133" cy="5400675"/>
          </a:xfrm>
        </p:spPr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81213"/>
            <a:ext cx="10586099" cy="360535"/>
          </a:xfrm>
        </p:spPr>
        <p:txBody>
          <a:bodyPr/>
          <a:lstStyle>
            <a:lvl1pPr>
              <a:defRPr lang="de-DE" sz="2400" b="0" baseline="0" smtClean="0">
                <a:solidFill>
                  <a:srgbClr val="0065BD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441426"/>
            <a:ext cx="10586102" cy="395287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&lt;Subtitle&gt;</a:t>
            </a:r>
          </a:p>
        </p:txBody>
      </p:sp>
    </p:spTree>
    <p:extLst>
      <p:ext uri="{BB962C8B-B14F-4D97-AF65-F5344CB8AC3E}">
        <p14:creationId xmlns:p14="http://schemas.microsoft.com/office/powerpoint/2010/main" val="18252149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>
            <a:lvl1pPr>
              <a:defRPr>
                <a:solidFill>
                  <a:srgbClr val="0065BD"/>
                </a:solidFill>
              </a:defRPr>
            </a:lvl1pPr>
          </a:lstStyle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34437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2" y="981076"/>
            <a:ext cx="5659967" cy="54006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34437" y="981074"/>
            <a:ext cx="5662084" cy="661976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34437" y="1643050"/>
            <a:ext cx="5662084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7" y="981079"/>
            <a:ext cx="5664200" cy="661975"/>
          </a:xfr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193367" y="1643050"/>
            <a:ext cx="5664200" cy="47736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&lt;Format of Master 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34437" y="44452"/>
            <a:ext cx="10586099" cy="720725"/>
          </a:xfrm>
        </p:spPr>
        <p:txBody>
          <a:bodyPr/>
          <a:lstStyle/>
          <a:p>
            <a:r>
              <a:rPr lang="en-US" noProof="0" dirty="0"/>
              <a:t>&lt;Title&gt;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44451"/>
            <a:ext cx="10586102" cy="720725"/>
          </a:xfrm>
        </p:spPr>
        <p:txBody>
          <a:bodyPr/>
          <a:lstStyle/>
          <a:p>
            <a:r>
              <a:rPr lang="en-US" noProof="0" dirty="0"/>
              <a:t>&lt;Title&gt;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3" y="44451"/>
            <a:ext cx="11523133" cy="652462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 noProof="0" dirty="0"/>
              <a:t>&lt;Title&gt;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625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44451"/>
            <a:ext cx="1058610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itle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981076"/>
            <a:ext cx="11523133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383184" y="6570616"/>
            <a:ext cx="214206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2903" y="6569076"/>
            <a:ext cx="637269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25251" y="6570616"/>
            <a:ext cx="33231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861" y="398812"/>
            <a:ext cx="606858" cy="3200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81" r:id="rId4"/>
    <p:sldLayoutId id="2147483766" r:id="rId5"/>
    <p:sldLayoutId id="2147483767" r:id="rId6"/>
    <p:sldLayoutId id="2147483768" r:id="rId7"/>
    <p:sldLayoutId id="2147483780" r:id="rId8"/>
    <p:sldLayoutId id="2147483769" r:id="rId9"/>
    <p:sldLayoutId id="2147483771" r:id="rId10"/>
    <p:sldLayoutId id="2147483782" r:id="rId11"/>
    <p:sldLayoutId id="2147483783" r:id="rId12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rgbClr val="0065BD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sv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20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21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sv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7" Type="http://schemas.openxmlformats.org/officeDocument/2006/relationships/chart" Target="../charts/chart9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18" Type="http://schemas.openxmlformats.org/officeDocument/2006/relationships/image" Target="../media/image2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3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08983-F66D-4448-9479-CD135B398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371" y="2615311"/>
            <a:ext cx="11432843" cy="1603104"/>
          </a:xfrm>
        </p:spPr>
        <p:txBody>
          <a:bodyPr/>
          <a:lstStyle/>
          <a:p>
            <a:r>
              <a:rPr lang="en-US" dirty="0"/>
              <a:t>Analysis and Implementation </a:t>
            </a:r>
            <a:br>
              <a:rPr lang="en-US" dirty="0"/>
            </a:br>
            <a:r>
              <a:rPr lang="en-US" dirty="0"/>
              <a:t>of Verifiable Computation Techniques </a:t>
            </a:r>
            <a:br>
              <a:rPr lang="en-US" dirty="0"/>
            </a:br>
            <a:r>
              <a:rPr lang="en-US" dirty="0"/>
              <a:t>for Energy Blockchain Appl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12FE5F-48AE-4BFD-9B9B-8E5702C02E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rnd Steinkopf - Dec. 14</a:t>
            </a:r>
            <a:r>
              <a:rPr lang="en-US" baseline="30000"/>
              <a:t>th</a:t>
            </a:r>
            <a:r>
              <a:rPr lang="en-US"/>
              <a:t>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43902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B17F9-DF56-4CB9-B96F-65FC6A444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E9176F52-1DA0-4A11-B1CC-1DE3928F6B18}"/>
              </a:ext>
            </a:extLst>
          </p:cNvPr>
          <p:cNvSpPr/>
          <p:nvPr/>
        </p:nvSpPr>
        <p:spPr>
          <a:xfrm>
            <a:off x="2664112" y="955317"/>
            <a:ext cx="3429029" cy="701747"/>
          </a:xfrm>
          <a:custGeom>
            <a:avLst/>
            <a:gdLst>
              <a:gd name="connsiteX0" fmla="*/ 0 w 3429029"/>
              <a:gd name="connsiteY0" fmla="*/ 70175 h 701747"/>
              <a:gd name="connsiteX1" fmla="*/ 70175 w 3429029"/>
              <a:gd name="connsiteY1" fmla="*/ 0 h 701747"/>
              <a:gd name="connsiteX2" fmla="*/ 3358854 w 3429029"/>
              <a:gd name="connsiteY2" fmla="*/ 0 h 701747"/>
              <a:gd name="connsiteX3" fmla="*/ 3429029 w 3429029"/>
              <a:gd name="connsiteY3" fmla="*/ 70175 h 701747"/>
              <a:gd name="connsiteX4" fmla="*/ 3429029 w 3429029"/>
              <a:gd name="connsiteY4" fmla="*/ 631572 h 701747"/>
              <a:gd name="connsiteX5" fmla="*/ 3358854 w 3429029"/>
              <a:gd name="connsiteY5" fmla="*/ 701747 h 701747"/>
              <a:gd name="connsiteX6" fmla="*/ 70175 w 3429029"/>
              <a:gd name="connsiteY6" fmla="*/ 701747 h 701747"/>
              <a:gd name="connsiteX7" fmla="*/ 0 w 3429029"/>
              <a:gd name="connsiteY7" fmla="*/ 631572 h 701747"/>
              <a:gd name="connsiteX8" fmla="*/ 0 w 3429029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29029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3358854" y="0"/>
                </a:lnTo>
                <a:cubicBezTo>
                  <a:pt x="3397611" y="0"/>
                  <a:pt x="3429029" y="31418"/>
                  <a:pt x="3429029" y="70175"/>
                </a:cubicBezTo>
                <a:lnTo>
                  <a:pt x="3429029" y="631572"/>
                </a:lnTo>
                <a:cubicBezTo>
                  <a:pt x="3429029" y="670329"/>
                  <a:pt x="3397611" y="701747"/>
                  <a:pt x="3358854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8663" tIns="138663" rIns="138663" bIns="138663" numCol="1" spcCol="1270" anchor="ctr" anchorCtr="0">
            <a:noAutofit/>
          </a:bodyPr>
          <a:lstStyle/>
          <a:p>
            <a:pPr marL="0" lvl="0" indent="0" algn="ctr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/>
              <a:t>Theory</a:t>
            </a: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830B6650-369A-4242-81AA-34AFF4378BD5}"/>
              </a:ext>
            </a:extLst>
          </p:cNvPr>
          <p:cNvSpPr/>
          <p:nvPr/>
        </p:nvSpPr>
        <p:spPr>
          <a:xfrm>
            <a:off x="2667459" y="180227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Use Case Requirements</a:t>
            </a: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D7F970DE-8BE0-4C3D-9E82-6F9C0631834D}"/>
              </a:ext>
            </a:extLst>
          </p:cNvPr>
          <p:cNvSpPr/>
          <p:nvPr/>
        </p:nvSpPr>
        <p:spPr>
          <a:xfrm>
            <a:off x="2667459" y="264923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Literature Analysis – Blockchain in the Energy Industry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116F70B-44BC-4692-B51B-CBC597BED344}"/>
              </a:ext>
            </a:extLst>
          </p:cNvPr>
          <p:cNvSpPr/>
          <p:nvPr/>
        </p:nvSpPr>
        <p:spPr>
          <a:xfrm>
            <a:off x="4431069" y="180227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Technology Comparison</a:t>
            </a: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12DE96C0-40FE-4696-B44D-39A895E5C4DA}"/>
              </a:ext>
            </a:extLst>
          </p:cNvPr>
          <p:cNvSpPr/>
          <p:nvPr/>
        </p:nvSpPr>
        <p:spPr>
          <a:xfrm>
            <a:off x="4431069" y="264923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 eaLnBrk="1" latinLnBrk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Literature Analysis – Verifiable Computing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2BC2ADA2-7162-4023-945B-70D88F0A9FF0}"/>
              </a:ext>
            </a:extLst>
          </p:cNvPr>
          <p:cNvSpPr/>
          <p:nvPr/>
        </p:nvSpPr>
        <p:spPr>
          <a:xfrm>
            <a:off x="6303118" y="955317"/>
            <a:ext cx="5214325" cy="701747"/>
          </a:xfrm>
          <a:custGeom>
            <a:avLst/>
            <a:gdLst>
              <a:gd name="connsiteX0" fmla="*/ 0 w 5214325"/>
              <a:gd name="connsiteY0" fmla="*/ 70175 h 701747"/>
              <a:gd name="connsiteX1" fmla="*/ 70175 w 5214325"/>
              <a:gd name="connsiteY1" fmla="*/ 0 h 701747"/>
              <a:gd name="connsiteX2" fmla="*/ 5144150 w 5214325"/>
              <a:gd name="connsiteY2" fmla="*/ 0 h 701747"/>
              <a:gd name="connsiteX3" fmla="*/ 5214325 w 5214325"/>
              <a:gd name="connsiteY3" fmla="*/ 70175 h 701747"/>
              <a:gd name="connsiteX4" fmla="*/ 5214325 w 5214325"/>
              <a:gd name="connsiteY4" fmla="*/ 631572 h 701747"/>
              <a:gd name="connsiteX5" fmla="*/ 5144150 w 5214325"/>
              <a:gd name="connsiteY5" fmla="*/ 701747 h 701747"/>
              <a:gd name="connsiteX6" fmla="*/ 70175 w 5214325"/>
              <a:gd name="connsiteY6" fmla="*/ 701747 h 701747"/>
              <a:gd name="connsiteX7" fmla="*/ 0 w 5214325"/>
              <a:gd name="connsiteY7" fmla="*/ 631572 h 701747"/>
              <a:gd name="connsiteX8" fmla="*/ 0 w 5214325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14325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5144150" y="0"/>
                </a:lnTo>
                <a:cubicBezTo>
                  <a:pt x="5182907" y="0"/>
                  <a:pt x="5214325" y="31418"/>
                  <a:pt x="5214325" y="70175"/>
                </a:cubicBezTo>
                <a:lnTo>
                  <a:pt x="5214325" y="631572"/>
                </a:lnTo>
                <a:cubicBezTo>
                  <a:pt x="5214325" y="670329"/>
                  <a:pt x="5182907" y="701747"/>
                  <a:pt x="5144150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8663" tIns="138663" rIns="138663" bIns="138663" numCol="1" spcCol="1270" anchor="ctr" anchorCtr="0">
            <a:noAutofit/>
          </a:bodyPr>
          <a:lstStyle/>
          <a:p>
            <a:pPr marL="0" lvl="0" indent="0" algn="ctr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/>
              <a:t>Implementation</a:t>
            </a: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D06FCA71-BE93-4256-81B0-4B62B22374A0}"/>
              </a:ext>
            </a:extLst>
          </p:cNvPr>
          <p:cNvSpPr/>
          <p:nvPr/>
        </p:nvSpPr>
        <p:spPr>
          <a:xfrm>
            <a:off x="6303169" y="1802278"/>
            <a:ext cx="3858249" cy="701747"/>
          </a:xfrm>
          <a:custGeom>
            <a:avLst/>
            <a:gdLst>
              <a:gd name="connsiteX0" fmla="*/ 0 w 3858249"/>
              <a:gd name="connsiteY0" fmla="*/ 70175 h 701747"/>
              <a:gd name="connsiteX1" fmla="*/ 70175 w 3858249"/>
              <a:gd name="connsiteY1" fmla="*/ 0 h 701747"/>
              <a:gd name="connsiteX2" fmla="*/ 3788074 w 3858249"/>
              <a:gd name="connsiteY2" fmla="*/ 0 h 701747"/>
              <a:gd name="connsiteX3" fmla="*/ 3858249 w 3858249"/>
              <a:gd name="connsiteY3" fmla="*/ 70175 h 701747"/>
              <a:gd name="connsiteX4" fmla="*/ 3858249 w 3858249"/>
              <a:gd name="connsiteY4" fmla="*/ 631572 h 701747"/>
              <a:gd name="connsiteX5" fmla="*/ 3788074 w 3858249"/>
              <a:gd name="connsiteY5" fmla="*/ 701747 h 701747"/>
              <a:gd name="connsiteX6" fmla="*/ 70175 w 3858249"/>
              <a:gd name="connsiteY6" fmla="*/ 701747 h 701747"/>
              <a:gd name="connsiteX7" fmla="*/ 0 w 3858249"/>
              <a:gd name="connsiteY7" fmla="*/ 631572 h 701747"/>
              <a:gd name="connsiteX8" fmla="*/ 0 w 3858249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58249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3788074" y="0"/>
                </a:lnTo>
                <a:cubicBezTo>
                  <a:pt x="3826831" y="0"/>
                  <a:pt x="3858249" y="31418"/>
                  <a:pt x="3858249" y="70175"/>
                </a:cubicBezTo>
                <a:lnTo>
                  <a:pt x="3858249" y="631572"/>
                </a:lnTo>
                <a:cubicBezTo>
                  <a:pt x="3858249" y="670329"/>
                  <a:pt x="3826831" y="701747"/>
                  <a:pt x="3788074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Software Framework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30B96415-32D6-47B0-868C-5166ACC3FC02}"/>
              </a:ext>
            </a:extLst>
          </p:cNvPr>
          <p:cNvSpPr/>
          <p:nvPr/>
        </p:nvSpPr>
        <p:spPr>
          <a:xfrm>
            <a:off x="6303169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Use Case Model</a:t>
            </a: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421F3469-E3E5-47C7-91FA-5AA3CD0076B7}"/>
              </a:ext>
            </a:extLst>
          </p:cNvPr>
          <p:cNvSpPr/>
          <p:nvPr/>
        </p:nvSpPr>
        <p:spPr>
          <a:xfrm>
            <a:off x="7606751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Development Environment</a:t>
            </a: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93632C01-2AFC-4C1E-BD5F-C14A23345E18}"/>
              </a:ext>
            </a:extLst>
          </p:cNvPr>
          <p:cNvSpPr/>
          <p:nvPr/>
        </p:nvSpPr>
        <p:spPr>
          <a:xfrm>
            <a:off x="8910332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Algorithmic Implementation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32C5C695-A14D-4947-BDA2-22F3778576E0}"/>
              </a:ext>
            </a:extLst>
          </p:cNvPr>
          <p:cNvSpPr/>
          <p:nvPr/>
        </p:nvSpPr>
        <p:spPr>
          <a:xfrm>
            <a:off x="10266305" y="180227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Performance Evaluation</a:t>
            </a: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443666FF-CF97-43C0-8079-185B48491028}"/>
              </a:ext>
            </a:extLst>
          </p:cNvPr>
          <p:cNvSpPr/>
          <p:nvPr/>
        </p:nvSpPr>
        <p:spPr>
          <a:xfrm>
            <a:off x="10266305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Framework </a:t>
            </a:r>
            <a:br>
              <a:rPr lang="en-US" sz="1200" kern="1200" dirty="0"/>
            </a:br>
            <a:r>
              <a:rPr lang="en-US" sz="1200" kern="1200" dirty="0"/>
              <a:t>Test Run</a:t>
            </a: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CBC426AC-7E5B-4360-B597-619AAA7C3570}"/>
              </a:ext>
            </a:extLst>
          </p:cNvPr>
          <p:cNvSpPr/>
          <p:nvPr/>
        </p:nvSpPr>
        <p:spPr>
          <a:xfrm>
            <a:off x="662156" y="953537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970" tIns="140970" rIns="140970" bIns="140970" numCol="1" spcCol="1270" anchor="ctr" anchorCtr="0">
            <a:noAutofit/>
          </a:bodyPr>
          <a:lstStyle/>
          <a:p>
            <a:pPr marL="0" lvl="0" indent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700" kern="1200" dirty="0"/>
              <a:t>Goals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BC51D7D6-B012-44FA-9EBB-949854BC518C}"/>
              </a:ext>
            </a:extLst>
          </p:cNvPr>
          <p:cNvSpPr/>
          <p:nvPr/>
        </p:nvSpPr>
        <p:spPr>
          <a:xfrm>
            <a:off x="662156" y="1763031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00" tIns="114300" rIns="114300" bIns="114300" numCol="1" spcCol="1270" anchor="ctr" anchorCtr="0">
            <a:noAutofit/>
          </a:bodyPr>
          <a:lstStyle/>
          <a:p>
            <a:pPr marL="0" lvl="0" indent="0" algn="ctr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000" kern="1200" dirty="0"/>
              <a:t>Artifacts</a:t>
            </a: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81399F6B-3202-457C-A701-401AA820FDF9}"/>
              </a:ext>
            </a:extLst>
          </p:cNvPr>
          <p:cNvSpPr/>
          <p:nvPr/>
        </p:nvSpPr>
        <p:spPr>
          <a:xfrm>
            <a:off x="662156" y="2572525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00" tIns="114300" rIns="114300" bIns="114300" numCol="1" spcCol="1270" anchor="ctr" anchorCtr="0">
            <a:noAutofit/>
          </a:bodyPr>
          <a:lstStyle/>
          <a:p>
            <a:pPr marL="0" lvl="0" indent="0" algn="ctr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000" kern="1200" dirty="0"/>
              <a:t>Task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7E5CEB-BA7D-4BEC-B68E-61BEE0C3B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D0BD19-6919-43FC-B952-25494EE65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Bernd Steinkopf | Analysis and Implementation of Verifiable Computation Techniques for Energy Blockchain Applications | 14.12.202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EF63FB-BFFA-4475-A197-6197B505E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A0AA17F-C211-4745-ACE4-C40B2577A820}"/>
              </a:ext>
            </a:extLst>
          </p:cNvPr>
          <p:cNvGrpSpPr/>
          <p:nvPr/>
        </p:nvGrpSpPr>
        <p:grpSpPr>
          <a:xfrm>
            <a:off x="468128" y="3706154"/>
            <a:ext cx="11055567" cy="769441"/>
            <a:chOff x="468128" y="3706154"/>
            <a:chExt cx="11055567" cy="769441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72E0EA5-A666-4280-B9A6-90BEF2915A63}"/>
                </a:ext>
              </a:extLst>
            </p:cNvPr>
            <p:cNvSpPr/>
            <p:nvPr/>
          </p:nvSpPr>
          <p:spPr>
            <a:xfrm>
              <a:off x="661373" y="3810000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What are the requirements and challenges of </a:t>
              </a:r>
              <a:br>
                <a:rPr lang="en-US" kern="1200" dirty="0"/>
              </a:br>
              <a:r>
                <a:rPr lang="en-US" kern="1200" dirty="0"/>
                <a:t>common </a:t>
              </a:r>
              <a:r>
                <a:rPr lang="en-US" kern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blockchain</a:t>
              </a:r>
              <a:r>
                <a:rPr lang="en-US" kern="1200" dirty="0"/>
                <a:t> applications in the energy industry?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447FAC7-6293-44EA-AF30-EC3C084DE172}"/>
                </a:ext>
              </a:extLst>
            </p:cNvPr>
            <p:cNvSpPr/>
            <p:nvPr/>
          </p:nvSpPr>
          <p:spPr>
            <a:xfrm>
              <a:off x="468128" y="3706154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1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CF8E6DE-51E8-4F88-970A-1033BAC25F2E}"/>
              </a:ext>
            </a:extLst>
          </p:cNvPr>
          <p:cNvGrpSpPr/>
          <p:nvPr/>
        </p:nvGrpSpPr>
        <p:grpSpPr>
          <a:xfrm>
            <a:off x="468128" y="4390218"/>
            <a:ext cx="11055567" cy="769441"/>
            <a:chOff x="468128" y="4390218"/>
            <a:chExt cx="11055567" cy="76944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11B51EB-9EAB-4DB8-A107-3F3CA2540787}"/>
                </a:ext>
              </a:extLst>
            </p:cNvPr>
            <p:cNvSpPr/>
            <p:nvPr/>
          </p:nvSpPr>
          <p:spPr>
            <a:xfrm>
              <a:off x="661373" y="4509521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marR="0" lvl="0" indent="0" defTabSz="1022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can the use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rease </a:t>
              </a:r>
              <a:b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security and reliability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energy-related blockchain applications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8B5B7FC-767E-47FC-B863-40DC304CE385}"/>
                </a:ext>
              </a:extLst>
            </p:cNvPr>
            <p:cNvSpPr/>
            <p:nvPr/>
          </p:nvSpPr>
          <p:spPr>
            <a:xfrm>
              <a:off x="468128" y="4390218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2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05F28D4-3682-4F11-B696-B9EA291CA633}"/>
              </a:ext>
            </a:extLst>
          </p:cNvPr>
          <p:cNvGrpSpPr/>
          <p:nvPr/>
        </p:nvGrpSpPr>
        <p:grpSpPr>
          <a:xfrm>
            <a:off x="468128" y="5105195"/>
            <a:ext cx="11055567" cy="769441"/>
            <a:chOff x="468128" y="5105195"/>
            <a:chExt cx="11055567" cy="769441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F1F2EE7-52B6-48DD-A842-5FFA13E57C64}"/>
                </a:ext>
              </a:extLst>
            </p:cNvPr>
            <p:cNvSpPr/>
            <p:nvPr/>
          </p:nvSpPr>
          <p:spPr>
            <a:xfrm>
              <a:off x="661373" y="5209042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How do different blockchain-based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techniques</a:t>
              </a:r>
              <a:r>
                <a:rPr lang="en-US" kern="1200" dirty="0"/>
                <a:t> compare </a:t>
              </a:r>
              <a:br>
                <a:rPr lang="en-US" kern="1200" dirty="0"/>
              </a:br>
              <a:r>
                <a:rPr lang="en-US" kern="1200" dirty="0"/>
                <a:t>in terms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performance, security and usability</a:t>
              </a:r>
              <a:r>
                <a:rPr lang="en-US" kern="1200" dirty="0"/>
                <a:t>?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EBEB66A-2EC2-45E5-A346-D69A7E64963F}"/>
                </a:ext>
              </a:extLst>
            </p:cNvPr>
            <p:cNvSpPr/>
            <p:nvPr/>
          </p:nvSpPr>
          <p:spPr>
            <a:xfrm>
              <a:off x="468128" y="5105195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3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6344693-6971-4460-AD89-CA6332DE7F68}"/>
              </a:ext>
            </a:extLst>
          </p:cNvPr>
          <p:cNvGrpSpPr/>
          <p:nvPr/>
        </p:nvGrpSpPr>
        <p:grpSpPr>
          <a:xfrm>
            <a:off x="468128" y="5799635"/>
            <a:ext cx="11057122" cy="769441"/>
            <a:chOff x="468128" y="5799635"/>
            <a:chExt cx="11057122" cy="76944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5D0DEF0-CDBF-4A00-AD1C-E7E8749FA305}"/>
                </a:ext>
              </a:extLst>
            </p:cNvPr>
            <p:cNvSpPr/>
            <p:nvPr/>
          </p:nvSpPr>
          <p:spPr>
            <a:xfrm>
              <a:off x="662928" y="5908563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0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Which measures are required to prototypically implement </a:t>
              </a:r>
              <a:br>
                <a:rPr lang="en-US" kern="1200" dirty="0"/>
              </a:br>
              <a:r>
                <a:rPr lang="en-US" kern="1200" dirty="0"/>
                <a:t>a functioning infrastructure for solving blockchain-aided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ations</a:t>
              </a:r>
              <a:r>
                <a:rPr lang="en-US" kern="1200" dirty="0"/>
                <a:t>?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04CFD43-9D7F-41D2-933E-300BD906789B}"/>
                </a:ext>
              </a:extLst>
            </p:cNvPr>
            <p:cNvSpPr/>
            <p:nvPr/>
          </p:nvSpPr>
          <p:spPr>
            <a:xfrm>
              <a:off x="468128" y="5799635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4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D3E7D0B7-1F99-445C-B516-E0DC33FCE42A}"/>
              </a:ext>
            </a:extLst>
          </p:cNvPr>
          <p:cNvSpPr/>
          <p:nvPr/>
        </p:nvSpPr>
        <p:spPr>
          <a:xfrm>
            <a:off x="3490643" y="1502449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1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56610B5-03C4-4DB2-BABB-067DEC0EAA22}"/>
              </a:ext>
            </a:extLst>
          </p:cNvPr>
          <p:cNvSpPr/>
          <p:nvPr/>
        </p:nvSpPr>
        <p:spPr>
          <a:xfrm>
            <a:off x="3891068" y="1497374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/2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B660037-68AF-465B-97ED-DAFEF6988C93}"/>
              </a:ext>
            </a:extLst>
          </p:cNvPr>
          <p:cNvSpPr/>
          <p:nvPr/>
        </p:nvSpPr>
        <p:spPr>
          <a:xfrm>
            <a:off x="5486642" y="1502449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3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78FC737-A1E6-4F76-82A7-946A6F358BDF}"/>
              </a:ext>
            </a:extLst>
          </p:cNvPr>
          <p:cNvSpPr/>
          <p:nvPr/>
        </p:nvSpPr>
        <p:spPr>
          <a:xfrm>
            <a:off x="10920536" y="698952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4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8804883-6F6B-4002-8D30-49F10DFB4D57}"/>
              </a:ext>
            </a:extLst>
          </p:cNvPr>
          <p:cNvGrpSpPr/>
          <p:nvPr/>
        </p:nvGrpSpPr>
        <p:grpSpPr>
          <a:xfrm>
            <a:off x="3306528" y="1965168"/>
            <a:ext cx="380586" cy="377362"/>
            <a:chOff x="2916578" y="74181"/>
            <a:chExt cx="894594" cy="887016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572F307-45E2-4005-B663-74FAFC541A1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0" name="Graphic 3" descr="Checkmark">
              <a:extLst>
                <a:ext uri="{FF2B5EF4-FFF2-40B4-BE49-F238E27FC236}">
                  <a16:creationId xmlns:a16="http://schemas.microsoft.com/office/drawing/2014/main" id="{68E3C887-B310-4B84-9CC0-3548756A7C3A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698AA48-1722-47FE-9463-F6A424A82239}"/>
              </a:ext>
            </a:extLst>
          </p:cNvPr>
          <p:cNvGrpSpPr/>
          <p:nvPr/>
        </p:nvGrpSpPr>
        <p:grpSpPr>
          <a:xfrm>
            <a:off x="3306528" y="2816517"/>
            <a:ext cx="380586" cy="377362"/>
            <a:chOff x="2916578" y="74181"/>
            <a:chExt cx="894594" cy="887016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E612E17C-602D-4085-8BFA-2B8398BE5503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3" name="Graphic 3" descr="Checkmark">
              <a:extLst>
                <a:ext uri="{FF2B5EF4-FFF2-40B4-BE49-F238E27FC236}">
                  <a16:creationId xmlns:a16="http://schemas.microsoft.com/office/drawing/2014/main" id="{BA241385-E23B-4E9C-AD65-44131FBB4DE8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835795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 animBg="1"/>
      <p:bldP spid="67" grpId="0" animBg="1"/>
      <p:bldP spid="68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80" grpId="0"/>
      <p:bldP spid="81" grpId="0"/>
      <p:bldP spid="82" grpId="0"/>
      <p:bldP spid="8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F545F7-6CDA-4E51-86F8-33F26DD8F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3B095A-B699-4EAF-A770-D865A972D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050084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57">
            <a:extLst>
              <a:ext uri="{FF2B5EF4-FFF2-40B4-BE49-F238E27FC236}">
                <a16:creationId xmlns:a16="http://schemas.microsoft.com/office/drawing/2014/main" id="{2AB7B3DE-BC04-4770-AAD1-637624795B50}"/>
              </a:ext>
            </a:extLst>
          </p:cNvPr>
          <p:cNvGrpSpPr/>
          <p:nvPr/>
        </p:nvGrpSpPr>
        <p:grpSpPr>
          <a:xfrm>
            <a:off x="4659467" y="3727956"/>
            <a:ext cx="3063419" cy="1276461"/>
            <a:chOff x="4659467" y="3727956"/>
            <a:chExt cx="3063419" cy="127646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939404E-4388-4987-9157-B2F37CD7B7AB}"/>
                </a:ext>
              </a:extLst>
            </p:cNvPr>
            <p:cNvSpPr/>
            <p:nvPr/>
          </p:nvSpPr>
          <p:spPr>
            <a:xfrm>
              <a:off x="4659467" y="3727956"/>
              <a:ext cx="369795" cy="83165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831655"/>
                  </a:lnTo>
                  <a:lnTo>
                    <a:pt x="369795" y="831655"/>
                  </a:lnTo>
                </a:path>
              </a:pathLst>
            </a:custGeom>
            <a:noFill/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7FDBF86-6B77-4B09-90EB-98B9EA1237C7}"/>
                </a:ext>
              </a:extLst>
            </p:cNvPr>
            <p:cNvSpPr/>
            <p:nvPr/>
          </p:nvSpPr>
          <p:spPr>
            <a:xfrm>
              <a:off x="5029262" y="4114804"/>
              <a:ext cx="2693624" cy="889613"/>
            </a:xfrm>
            <a:custGeom>
              <a:avLst/>
              <a:gdLst>
                <a:gd name="connsiteX0" fmla="*/ 0 w 2693624"/>
                <a:gd name="connsiteY0" fmla="*/ 0 h 889613"/>
                <a:gd name="connsiteX1" fmla="*/ 2693624 w 2693624"/>
                <a:gd name="connsiteY1" fmla="*/ 0 h 889613"/>
                <a:gd name="connsiteX2" fmla="*/ 2693624 w 2693624"/>
                <a:gd name="connsiteY2" fmla="*/ 889613 h 889613"/>
                <a:gd name="connsiteX3" fmla="*/ 0 w 2693624"/>
                <a:gd name="connsiteY3" fmla="*/ 889613 h 889613"/>
                <a:gd name="connsiteX4" fmla="*/ 0 w 26936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624" h="889613">
                  <a:moveTo>
                    <a:pt x="0" y="0"/>
                  </a:moveTo>
                  <a:lnTo>
                    <a:pt x="2693624" y="0"/>
                  </a:lnTo>
                  <a:lnTo>
                    <a:pt x="26936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3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2960" tIns="13335" rIns="13335" bIns="13335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Preprocessing </a:t>
              </a:r>
              <a:r>
                <a:rPr lang="en-US" sz="2100" kern="1200" baseline="0" dirty="0" err="1"/>
                <a:t>zkSNARKs</a:t>
              </a:r>
              <a:endParaRPr lang="en-US" sz="2100" kern="1200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B2B1CCE-7F88-417F-8316-29FF25302B74}"/>
                </a:ext>
              </a:extLst>
            </p:cNvPr>
            <p:cNvSpPr/>
            <p:nvPr/>
          </p:nvSpPr>
          <p:spPr bwMode="auto">
            <a:xfrm>
              <a:off x="5106680" y="4221474"/>
              <a:ext cx="685800" cy="676274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49" name="Graphic 48" descr="Key">
              <a:extLst>
                <a:ext uri="{FF2B5EF4-FFF2-40B4-BE49-F238E27FC236}">
                  <a16:creationId xmlns:a16="http://schemas.microsoft.com/office/drawing/2014/main" id="{BA6F721A-B562-47D8-AEDA-6A034BC506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145914" y="4255945"/>
              <a:ext cx="607332" cy="60733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7A2463C-DD12-48F7-BC35-C7412C04F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xonomy of Verifiable Computing Technique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781C8-BA51-44FB-925B-F47AD498E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851F02B-FBCE-4F49-BC91-5CB74DA48DBF}"/>
              </a:ext>
            </a:extLst>
          </p:cNvPr>
          <p:cNvGrpSpPr/>
          <p:nvPr/>
        </p:nvGrpSpPr>
        <p:grpSpPr>
          <a:xfrm>
            <a:off x="697005" y="3727956"/>
            <a:ext cx="3063419" cy="1276461"/>
            <a:chOff x="697005" y="3727956"/>
            <a:chExt cx="3063419" cy="127646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637D6F6-0E2C-4698-BFD9-A051E85E16C5}"/>
                </a:ext>
              </a:extLst>
            </p:cNvPr>
            <p:cNvSpPr/>
            <p:nvPr/>
          </p:nvSpPr>
          <p:spPr>
            <a:xfrm>
              <a:off x="697005" y="3727956"/>
              <a:ext cx="369795" cy="83165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831655"/>
                  </a:lnTo>
                  <a:lnTo>
                    <a:pt x="369795" y="831655"/>
                  </a:lnTo>
                </a:path>
              </a:pathLst>
            </a:custGeom>
            <a:noFill/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2069542-6DE8-43F2-A067-C767AC673EE6}"/>
                </a:ext>
              </a:extLst>
            </p:cNvPr>
            <p:cNvSpPr/>
            <p:nvPr/>
          </p:nvSpPr>
          <p:spPr>
            <a:xfrm>
              <a:off x="1066800" y="4114804"/>
              <a:ext cx="2693624" cy="889613"/>
            </a:xfrm>
            <a:custGeom>
              <a:avLst/>
              <a:gdLst>
                <a:gd name="connsiteX0" fmla="*/ 0 w 2693624"/>
                <a:gd name="connsiteY0" fmla="*/ 0 h 889613"/>
                <a:gd name="connsiteX1" fmla="*/ 2693624 w 2693624"/>
                <a:gd name="connsiteY1" fmla="*/ 0 h 889613"/>
                <a:gd name="connsiteX2" fmla="*/ 2693624 w 2693624"/>
                <a:gd name="connsiteY2" fmla="*/ 889613 h 889613"/>
                <a:gd name="connsiteX3" fmla="*/ 0 w 2693624"/>
                <a:gd name="connsiteY3" fmla="*/ 889613 h 889613"/>
                <a:gd name="connsiteX4" fmla="*/ 0 w 26936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624" h="889613">
                  <a:moveTo>
                    <a:pt x="0" y="0"/>
                  </a:moveTo>
                  <a:lnTo>
                    <a:pt x="2693624" y="0"/>
                  </a:lnTo>
                  <a:lnTo>
                    <a:pt x="26936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3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2960" tIns="13335" rIns="13335" bIns="13335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Incentive-compatible </a:t>
              </a:r>
              <a:br>
                <a:rPr lang="en-US" sz="2100" kern="1200" baseline="0" dirty="0"/>
              </a:br>
              <a:r>
                <a:rPr lang="en-US" sz="2100" kern="1200" baseline="0" dirty="0"/>
                <a:t>Off-Chaining</a:t>
              </a:r>
              <a:endParaRPr lang="en-US" sz="2100" kern="1200" dirty="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40BFA55-25BF-40D3-83FE-D09D989E1731}"/>
                </a:ext>
              </a:extLst>
            </p:cNvPr>
            <p:cNvSpPr/>
            <p:nvPr/>
          </p:nvSpPr>
          <p:spPr bwMode="auto">
            <a:xfrm>
              <a:off x="1143000" y="4221473"/>
              <a:ext cx="685800" cy="676274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36" name="Graphic 35" descr="Bitcoin">
              <a:extLst>
                <a:ext uri="{FF2B5EF4-FFF2-40B4-BE49-F238E27FC236}">
                  <a16:creationId xmlns:a16="http://schemas.microsoft.com/office/drawing/2014/main" id="{244D8535-CB3D-4EBA-A2E3-7184736954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82234" y="4255944"/>
              <a:ext cx="607332" cy="607332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8DEADC8-441B-4D41-9113-40D02DFD2910}"/>
              </a:ext>
            </a:extLst>
          </p:cNvPr>
          <p:cNvGrpSpPr/>
          <p:nvPr/>
        </p:nvGrpSpPr>
        <p:grpSpPr>
          <a:xfrm>
            <a:off x="697005" y="3727956"/>
            <a:ext cx="3063419" cy="2539712"/>
            <a:chOff x="697005" y="3727956"/>
            <a:chExt cx="3063419" cy="2539712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10B2D03-53EC-4EC1-8A2C-085496A5570F}"/>
                </a:ext>
              </a:extLst>
            </p:cNvPr>
            <p:cNvSpPr/>
            <p:nvPr/>
          </p:nvSpPr>
          <p:spPr>
            <a:xfrm>
              <a:off x="697005" y="3727956"/>
              <a:ext cx="369795" cy="209490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094905"/>
                  </a:lnTo>
                  <a:lnTo>
                    <a:pt x="369795" y="2094905"/>
                  </a:lnTo>
                </a:path>
              </a:pathLst>
            </a:custGeom>
            <a:noFill/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5BE8658-C483-4789-9968-844E968A7075}"/>
                </a:ext>
              </a:extLst>
            </p:cNvPr>
            <p:cNvSpPr/>
            <p:nvPr/>
          </p:nvSpPr>
          <p:spPr>
            <a:xfrm>
              <a:off x="1066800" y="5378055"/>
              <a:ext cx="2693624" cy="889613"/>
            </a:xfrm>
            <a:custGeom>
              <a:avLst/>
              <a:gdLst>
                <a:gd name="connsiteX0" fmla="*/ 0 w 2693624"/>
                <a:gd name="connsiteY0" fmla="*/ 0 h 889613"/>
                <a:gd name="connsiteX1" fmla="*/ 2693624 w 2693624"/>
                <a:gd name="connsiteY1" fmla="*/ 0 h 889613"/>
                <a:gd name="connsiteX2" fmla="*/ 2693624 w 2693624"/>
                <a:gd name="connsiteY2" fmla="*/ 889613 h 889613"/>
                <a:gd name="connsiteX3" fmla="*/ 0 w 2693624"/>
                <a:gd name="connsiteY3" fmla="*/ 889613 h 889613"/>
                <a:gd name="connsiteX4" fmla="*/ 0 w 26936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624" h="889613">
                  <a:moveTo>
                    <a:pt x="0" y="0"/>
                  </a:moveTo>
                  <a:lnTo>
                    <a:pt x="2693624" y="0"/>
                  </a:lnTo>
                  <a:lnTo>
                    <a:pt x="26936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3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2960" tIns="13335" rIns="13335" bIns="13335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Trusted Execution Environments</a:t>
              </a:r>
              <a:endParaRPr lang="en-US" sz="2100" kern="1200" dirty="0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A50FFD7-FCC6-4C43-B789-082566721618}"/>
                </a:ext>
              </a:extLst>
            </p:cNvPr>
            <p:cNvSpPr/>
            <p:nvPr/>
          </p:nvSpPr>
          <p:spPr bwMode="auto">
            <a:xfrm>
              <a:off x="1143000" y="5484724"/>
              <a:ext cx="685800" cy="676274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40" name="Graphic 39" descr="Processor">
              <a:extLst>
                <a:ext uri="{FF2B5EF4-FFF2-40B4-BE49-F238E27FC236}">
                  <a16:creationId xmlns:a16="http://schemas.microsoft.com/office/drawing/2014/main" id="{7CEA198F-0772-4F9B-B9FB-E876962269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182234" y="5519195"/>
              <a:ext cx="607332" cy="607332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FED9B12-1E08-4CC9-9338-60C106AEB1A0}"/>
              </a:ext>
            </a:extLst>
          </p:cNvPr>
          <p:cNvGrpSpPr/>
          <p:nvPr/>
        </p:nvGrpSpPr>
        <p:grpSpPr>
          <a:xfrm>
            <a:off x="8621929" y="3727956"/>
            <a:ext cx="3063420" cy="1276461"/>
            <a:chOff x="8621929" y="3727956"/>
            <a:chExt cx="3063420" cy="1276461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CEA7BCF-71FA-48B1-AB57-CFD553873941}"/>
                </a:ext>
              </a:extLst>
            </p:cNvPr>
            <p:cNvSpPr/>
            <p:nvPr/>
          </p:nvSpPr>
          <p:spPr>
            <a:xfrm>
              <a:off x="8621929" y="3727956"/>
              <a:ext cx="369795" cy="83165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831655"/>
                  </a:lnTo>
                  <a:lnTo>
                    <a:pt x="369795" y="831655"/>
                  </a:lnTo>
                </a:path>
              </a:pathLst>
            </a:custGeom>
            <a:noFill/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7198FE9-9B30-4A55-88F0-02DF0F7F98D9}"/>
                </a:ext>
              </a:extLst>
            </p:cNvPr>
            <p:cNvSpPr/>
            <p:nvPr/>
          </p:nvSpPr>
          <p:spPr>
            <a:xfrm>
              <a:off x="8991725" y="4114804"/>
              <a:ext cx="2693624" cy="889613"/>
            </a:xfrm>
            <a:custGeom>
              <a:avLst/>
              <a:gdLst>
                <a:gd name="connsiteX0" fmla="*/ 0 w 2693624"/>
                <a:gd name="connsiteY0" fmla="*/ 0 h 889613"/>
                <a:gd name="connsiteX1" fmla="*/ 2693624 w 2693624"/>
                <a:gd name="connsiteY1" fmla="*/ 0 h 889613"/>
                <a:gd name="connsiteX2" fmla="*/ 2693624 w 2693624"/>
                <a:gd name="connsiteY2" fmla="*/ 889613 h 889613"/>
                <a:gd name="connsiteX3" fmla="*/ 0 w 2693624"/>
                <a:gd name="connsiteY3" fmla="*/ 889613 h 889613"/>
                <a:gd name="connsiteX4" fmla="*/ 0 w 26936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624" h="889613">
                  <a:moveTo>
                    <a:pt x="0" y="0"/>
                  </a:moveTo>
                  <a:lnTo>
                    <a:pt x="2693624" y="0"/>
                  </a:lnTo>
                  <a:lnTo>
                    <a:pt x="26936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3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2960" tIns="13335" rIns="13335" bIns="13335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Linear </a:t>
              </a:r>
              <a:br>
                <a:rPr lang="en-US" sz="2100" kern="1200" baseline="0" dirty="0"/>
              </a:br>
              <a:r>
                <a:rPr lang="en-US" sz="2100" kern="1200" baseline="0" dirty="0"/>
                <a:t>Secret-Sharing</a:t>
              </a:r>
              <a:endParaRPr lang="en-US" sz="2100" kern="1200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B35C2E0-36CE-4E1B-A3E3-9A2E925DA4F4}"/>
                </a:ext>
              </a:extLst>
            </p:cNvPr>
            <p:cNvSpPr/>
            <p:nvPr/>
          </p:nvSpPr>
          <p:spPr bwMode="auto">
            <a:xfrm>
              <a:off x="9067800" y="4221473"/>
              <a:ext cx="685800" cy="676274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55" name="Graphic 54" descr="Group brainstorm">
              <a:extLst>
                <a:ext uri="{FF2B5EF4-FFF2-40B4-BE49-F238E27FC236}">
                  <a16:creationId xmlns:a16="http://schemas.microsoft.com/office/drawing/2014/main" id="{147E30BD-047C-49CD-A348-CEB392427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9107034" y="4255944"/>
              <a:ext cx="607332" cy="607332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6310DF0-3E42-476A-979F-8A036C5848AD}"/>
              </a:ext>
            </a:extLst>
          </p:cNvPr>
          <p:cNvGrpSpPr/>
          <p:nvPr/>
        </p:nvGrpSpPr>
        <p:grpSpPr>
          <a:xfrm>
            <a:off x="4659467" y="3727956"/>
            <a:ext cx="3063419" cy="2539712"/>
            <a:chOff x="4659467" y="3727956"/>
            <a:chExt cx="3063419" cy="2539712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D8E4AD9-A174-4A16-B57B-9459B475FCCC}"/>
                </a:ext>
              </a:extLst>
            </p:cNvPr>
            <p:cNvSpPr/>
            <p:nvPr/>
          </p:nvSpPr>
          <p:spPr>
            <a:xfrm>
              <a:off x="4659467" y="3727956"/>
              <a:ext cx="369795" cy="209490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094905"/>
                  </a:lnTo>
                  <a:lnTo>
                    <a:pt x="369795" y="2094905"/>
                  </a:lnTo>
                </a:path>
              </a:pathLst>
            </a:custGeom>
            <a:noFill/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3B0BC5C-B5FB-45B1-ABC3-327ACB0F8572}"/>
                </a:ext>
              </a:extLst>
            </p:cNvPr>
            <p:cNvSpPr/>
            <p:nvPr/>
          </p:nvSpPr>
          <p:spPr>
            <a:xfrm>
              <a:off x="5029262" y="5378055"/>
              <a:ext cx="2693624" cy="889613"/>
            </a:xfrm>
            <a:custGeom>
              <a:avLst/>
              <a:gdLst>
                <a:gd name="connsiteX0" fmla="*/ 0 w 2693624"/>
                <a:gd name="connsiteY0" fmla="*/ 0 h 889613"/>
                <a:gd name="connsiteX1" fmla="*/ 2693624 w 2693624"/>
                <a:gd name="connsiteY1" fmla="*/ 0 h 889613"/>
                <a:gd name="connsiteX2" fmla="*/ 2693624 w 2693624"/>
                <a:gd name="connsiteY2" fmla="*/ 889613 h 889613"/>
                <a:gd name="connsiteX3" fmla="*/ 0 w 2693624"/>
                <a:gd name="connsiteY3" fmla="*/ 889613 h 889613"/>
                <a:gd name="connsiteX4" fmla="*/ 0 w 26936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624" h="889613">
                  <a:moveTo>
                    <a:pt x="0" y="0"/>
                  </a:moveTo>
                  <a:lnTo>
                    <a:pt x="2693624" y="0"/>
                  </a:lnTo>
                  <a:lnTo>
                    <a:pt x="26936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3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2960" tIns="13335" rIns="13335" bIns="13335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Transparent </a:t>
              </a:r>
              <a:r>
                <a:rPr lang="en-US" sz="2100" kern="1200" baseline="0" dirty="0" err="1"/>
                <a:t>zkSNARKs</a:t>
              </a:r>
              <a:endParaRPr lang="en-US" sz="2100" kern="1200" dirty="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885694E-DB99-4DE7-B0E5-094BBD18C61D}"/>
                </a:ext>
              </a:extLst>
            </p:cNvPr>
            <p:cNvSpPr/>
            <p:nvPr/>
          </p:nvSpPr>
          <p:spPr bwMode="auto">
            <a:xfrm>
              <a:off x="5106680" y="5484725"/>
              <a:ext cx="685800" cy="676274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52" name="Graphic 51" descr="Key">
              <a:extLst>
                <a:ext uri="{FF2B5EF4-FFF2-40B4-BE49-F238E27FC236}">
                  <a16:creationId xmlns:a16="http://schemas.microsoft.com/office/drawing/2014/main" id="{5BCF6B4E-19B6-452E-AF0B-8CCF2659FE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145914" y="5519196"/>
              <a:ext cx="607332" cy="607332"/>
            </a:xfrm>
            <a:prstGeom prst="rect">
              <a:avLst/>
            </a:prstGeom>
          </p:spPr>
        </p:pic>
        <p:pic>
          <p:nvPicPr>
            <p:cNvPr id="56" name="Graphic 55" descr="Close">
              <a:extLst>
                <a:ext uri="{FF2B5EF4-FFF2-40B4-BE49-F238E27FC236}">
                  <a16:creationId xmlns:a16="http://schemas.microsoft.com/office/drawing/2014/main" id="{FD68DAEA-D324-4D04-8E13-77F87C53F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5187018" y="5570876"/>
              <a:ext cx="525124" cy="52512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4FB659B-75A1-4A58-86F8-14C14D766177}"/>
              </a:ext>
            </a:extLst>
          </p:cNvPr>
          <p:cNvGrpSpPr/>
          <p:nvPr/>
        </p:nvGrpSpPr>
        <p:grpSpPr>
          <a:xfrm>
            <a:off x="338122" y="2464705"/>
            <a:ext cx="5756875" cy="1263250"/>
            <a:chOff x="338122" y="2464705"/>
            <a:chExt cx="5756875" cy="1263250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0E6F74-8AD2-463E-A823-DCFC037A81B7}"/>
                </a:ext>
              </a:extLst>
            </p:cNvPr>
            <p:cNvSpPr/>
            <p:nvPr/>
          </p:nvSpPr>
          <p:spPr>
            <a:xfrm>
              <a:off x="2132535" y="2464705"/>
              <a:ext cx="3962462" cy="37363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962462" y="0"/>
                  </a:moveTo>
                  <a:lnTo>
                    <a:pt x="3962462" y="186818"/>
                  </a:lnTo>
                  <a:lnTo>
                    <a:pt x="0" y="186818"/>
                  </a:lnTo>
                  <a:lnTo>
                    <a:pt x="0" y="373637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380F80F-07ED-47D8-B794-44B9727FE9A7}"/>
                </a:ext>
              </a:extLst>
            </p:cNvPr>
            <p:cNvSpPr/>
            <p:nvPr/>
          </p:nvSpPr>
          <p:spPr>
            <a:xfrm>
              <a:off x="338122" y="2838342"/>
              <a:ext cx="3588824" cy="889613"/>
            </a:xfrm>
            <a:custGeom>
              <a:avLst/>
              <a:gdLst>
                <a:gd name="connsiteX0" fmla="*/ 0 w 3588824"/>
                <a:gd name="connsiteY0" fmla="*/ 0 h 889613"/>
                <a:gd name="connsiteX1" fmla="*/ 3588824 w 3588824"/>
                <a:gd name="connsiteY1" fmla="*/ 0 h 889613"/>
                <a:gd name="connsiteX2" fmla="*/ 3588824 w 3588824"/>
                <a:gd name="connsiteY2" fmla="*/ 889613 h 889613"/>
                <a:gd name="connsiteX3" fmla="*/ 0 w 3588824"/>
                <a:gd name="connsiteY3" fmla="*/ 889613 h 889613"/>
                <a:gd name="connsiteX4" fmla="*/ 0 w 35888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824" h="889613">
                  <a:moveTo>
                    <a:pt x="0" y="0"/>
                  </a:moveTo>
                  <a:lnTo>
                    <a:pt x="3588824" y="0"/>
                  </a:lnTo>
                  <a:lnTo>
                    <a:pt x="35888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3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35" tIns="13335" rIns="13335" bIns="13335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Trusted Oracles</a:t>
              </a:r>
              <a:endParaRPr lang="en-US" sz="2100" kern="1200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274269A-4454-4741-AE10-F317583E4834}"/>
              </a:ext>
            </a:extLst>
          </p:cNvPr>
          <p:cNvGrpSpPr/>
          <p:nvPr/>
        </p:nvGrpSpPr>
        <p:grpSpPr>
          <a:xfrm>
            <a:off x="4300585" y="2464705"/>
            <a:ext cx="3588824" cy="1263250"/>
            <a:chOff x="4300585" y="2464705"/>
            <a:chExt cx="3588824" cy="126325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7F8F502-4555-48DF-8B4A-FC3A128F3404}"/>
                </a:ext>
              </a:extLst>
            </p:cNvPr>
            <p:cNvSpPr/>
            <p:nvPr/>
          </p:nvSpPr>
          <p:spPr>
            <a:xfrm>
              <a:off x="6049277" y="2464705"/>
              <a:ext cx="91440" cy="37363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373637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72E269-EAEA-4C07-93A2-17450238C2CD}"/>
                </a:ext>
              </a:extLst>
            </p:cNvPr>
            <p:cNvSpPr/>
            <p:nvPr/>
          </p:nvSpPr>
          <p:spPr>
            <a:xfrm>
              <a:off x="4300585" y="2838342"/>
              <a:ext cx="3588824" cy="889613"/>
            </a:xfrm>
            <a:custGeom>
              <a:avLst/>
              <a:gdLst>
                <a:gd name="connsiteX0" fmla="*/ 0 w 3588824"/>
                <a:gd name="connsiteY0" fmla="*/ 0 h 889613"/>
                <a:gd name="connsiteX1" fmla="*/ 3588824 w 3588824"/>
                <a:gd name="connsiteY1" fmla="*/ 0 h 889613"/>
                <a:gd name="connsiteX2" fmla="*/ 3588824 w 3588824"/>
                <a:gd name="connsiteY2" fmla="*/ 889613 h 889613"/>
                <a:gd name="connsiteX3" fmla="*/ 0 w 3588824"/>
                <a:gd name="connsiteY3" fmla="*/ 889613 h 889613"/>
                <a:gd name="connsiteX4" fmla="*/ 0 w 35888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824" h="889613">
                  <a:moveTo>
                    <a:pt x="0" y="0"/>
                  </a:moveTo>
                  <a:lnTo>
                    <a:pt x="3588824" y="0"/>
                  </a:lnTo>
                  <a:lnTo>
                    <a:pt x="35888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3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35" tIns="13335" rIns="13335" bIns="13335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Zero-Knowledge Proofs</a:t>
              </a:r>
              <a:endParaRPr lang="en-US" sz="2100" kern="1200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2013A18-4EE3-4A89-A351-C4AD5772E526}"/>
              </a:ext>
            </a:extLst>
          </p:cNvPr>
          <p:cNvGrpSpPr/>
          <p:nvPr/>
        </p:nvGrpSpPr>
        <p:grpSpPr>
          <a:xfrm>
            <a:off x="6094997" y="2464705"/>
            <a:ext cx="5756874" cy="1263250"/>
            <a:chOff x="6094997" y="2464705"/>
            <a:chExt cx="5756874" cy="126325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F047E8A-5B8D-4E53-B111-2C4B26E86079}"/>
                </a:ext>
              </a:extLst>
            </p:cNvPr>
            <p:cNvSpPr/>
            <p:nvPr/>
          </p:nvSpPr>
          <p:spPr>
            <a:xfrm>
              <a:off x="6094997" y="2464705"/>
              <a:ext cx="3962462" cy="37363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86818"/>
                  </a:lnTo>
                  <a:lnTo>
                    <a:pt x="3962462" y="186818"/>
                  </a:lnTo>
                  <a:lnTo>
                    <a:pt x="3962462" y="373637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C70E867-8C7B-4495-A797-23B092C4CF43}"/>
                </a:ext>
              </a:extLst>
            </p:cNvPr>
            <p:cNvSpPr/>
            <p:nvPr/>
          </p:nvSpPr>
          <p:spPr>
            <a:xfrm>
              <a:off x="8263047" y="2838342"/>
              <a:ext cx="3588824" cy="889613"/>
            </a:xfrm>
            <a:custGeom>
              <a:avLst/>
              <a:gdLst>
                <a:gd name="connsiteX0" fmla="*/ 0 w 3588824"/>
                <a:gd name="connsiteY0" fmla="*/ 0 h 889613"/>
                <a:gd name="connsiteX1" fmla="*/ 3588824 w 3588824"/>
                <a:gd name="connsiteY1" fmla="*/ 0 h 889613"/>
                <a:gd name="connsiteX2" fmla="*/ 3588824 w 3588824"/>
                <a:gd name="connsiteY2" fmla="*/ 889613 h 889613"/>
                <a:gd name="connsiteX3" fmla="*/ 0 w 3588824"/>
                <a:gd name="connsiteY3" fmla="*/ 889613 h 889613"/>
                <a:gd name="connsiteX4" fmla="*/ 0 w 35888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824" h="889613">
                  <a:moveTo>
                    <a:pt x="0" y="0"/>
                  </a:moveTo>
                  <a:lnTo>
                    <a:pt x="3588824" y="0"/>
                  </a:lnTo>
                  <a:lnTo>
                    <a:pt x="35888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3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35" tIns="13335" rIns="13335" bIns="13335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Multi-Party Computation</a:t>
              </a:r>
              <a:endParaRPr lang="en-US" sz="2100" kern="1200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2749AF1-0C51-4D08-B69F-7E6F3A8C23E4}"/>
              </a:ext>
            </a:extLst>
          </p:cNvPr>
          <p:cNvSpPr/>
          <p:nvPr/>
        </p:nvSpPr>
        <p:spPr>
          <a:xfrm>
            <a:off x="4682149" y="1575091"/>
            <a:ext cx="2825696" cy="889613"/>
          </a:xfrm>
          <a:custGeom>
            <a:avLst/>
            <a:gdLst>
              <a:gd name="connsiteX0" fmla="*/ 0 w 2825696"/>
              <a:gd name="connsiteY0" fmla="*/ 0 h 889613"/>
              <a:gd name="connsiteX1" fmla="*/ 2825696 w 2825696"/>
              <a:gd name="connsiteY1" fmla="*/ 0 h 889613"/>
              <a:gd name="connsiteX2" fmla="*/ 2825696 w 2825696"/>
              <a:gd name="connsiteY2" fmla="*/ 889613 h 889613"/>
              <a:gd name="connsiteX3" fmla="*/ 0 w 2825696"/>
              <a:gd name="connsiteY3" fmla="*/ 889613 h 889613"/>
              <a:gd name="connsiteX4" fmla="*/ 0 w 2825696"/>
              <a:gd name="connsiteY4" fmla="*/ 0 h 889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25696" h="889613">
                <a:moveTo>
                  <a:pt x="0" y="0"/>
                </a:moveTo>
                <a:lnTo>
                  <a:pt x="2825696" y="0"/>
                </a:lnTo>
                <a:lnTo>
                  <a:pt x="2825696" y="889613"/>
                </a:lnTo>
                <a:lnTo>
                  <a:pt x="0" y="88961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3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335" tIns="13335" rIns="13335" bIns="13335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/>
              <a:t>Blockchain-based Verifiable Computing</a:t>
            </a:r>
          </a:p>
        </p:txBody>
      </p:sp>
      <p:sp>
        <p:nvSpPr>
          <p:cNvPr id="70" name="Date Placeholder 69">
            <a:extLst>
              <a:ext uri="{FF2B5EF4-FFF2-40B4-BE49-F238E27FC236}">
                <a16:creationId xmlns:a16="http://schemas.microsoft.com/office/drawing/2014/main" id="{AA55C95D-B57E-4794-BDDC-37C186C25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71" name="Slide Number Placeholder 70">
            <a:extLst>
              <a:ext uri="{FF2B5EF4-FFF2-40B4-BE49-F238E27FC236}">
                <a16:creationId xmlns:a16="http://schemas.microsoft.com/office/drawing/2014/main" id="{FCC38B8F-83EF-4514-A519-AA935E05A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8DD1051-7F38-4581-99D9-F627659B9747}"/>
              </a:ext>
            </a:extLst>
          </p:cNvPr>
          <p:cNvGrpSpPr/>
          <p:nvPr/>
        </p:nvGrpSpPr>
        <p:grpSpPr>
          <a:xfrm>
            <a:off x="8621929" y="3727956"/>
            <a:ext cx="3063419" cy="2539712"/>
            <a:chOff x="4659467" y="3727956"/>
            <a:chExt cx="3063419" cy="2539712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F34F538-F7A4-4209-BBC6-B3D4C7F7294E}"/>
                </a:ext>
              </a:extLst>
            </p:cNvPr>
            <p:cNvSpPr/>
            <p:nvPr/>
          </p:nvSpPr>
          <p:spPr>
            <a:xfrm>
              <a:off x="4659467" y="3727956"/>
              <a:ext cx="369795" cy="209490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094905"/>
                  </a:lnTo>
                  <a:lnTo>
                    <a:pt x="369795" y="2094905"/>
                  </a:lnTo>
                </a:path>
              </a:pathLst>
            </a:custGeom>
            <a:noFill/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4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A62D7FA-2004-4789-B98E-423C05F0FE19}"/>
                </a:ext>
              </a:extLst>
            </p:cNvPr>
            <p:cNvSpPr/>
            <p:nvPr/>
          </p:nvSpPr>
          <p:spPr>
            <a:xfrm>
              <a:off x="5029262" y="5378055"/>
              <a:ext cx="2693624" cy="889613"/>
            </a:xfrm>
            <a:custGeom>
              <a:avLst/>
              <a:gdLst>
                <a:gd name="connsiteX0" fmla="*/ 0 w 2693624"/>
                <a:gd name="connsiteY0" fmla="*/ 0 h 889613"/>
                <a:gd name="connsiteX1" fmla="*/ 2693624 w 2693624"/>
                <a:gd name="connsiteY1" fmla="*/ 0 h 889613"/>
                <a:gd name="connsiteX2" fmla="*/ 2693624 w 2693624"/>
                <a:gd name="connsiteY2" fmla="*/ 889613 h 889613"/>
                <a:gd name="connsiteX3" fmla="*/ 0 w 2693624"/>
                <a:gd name="connsiteY3" fmla="*/ 889613 h 889613"/>
                <a:gd name="connsiteX4" fmla="*/ 0 w 2693624"/>
                <a:gd name="connsiteY4" fmla="*/ 0 h 88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624" h="889613">
                  <a:moveTo>
                    <a:pt x="0" y="0"/>
                  </a:moveTo>
                  <a:lnTo>
                    <a:pt x="2693624" y="0"/>
                  </a:lnTo>
                  <a:lnTo>
                    <a:pt x="2693624" y="889613"/>
                  </a:lnTo>
                  <a:lnTo>
                    <a:pt x="0" y="88961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3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2960" tIns="13335" rIns="13335" bIns="13335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 baseline="0" dirty="0"/>
                <a:t>others</a:t>
              </a:r>
              <a:endParaRPr lang="en-US" sz="2100" kern="1200" dirty="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E909836-D723-4AD3-BB91-DD3D46386DD6}"/>
                </a:ext>
              </a:extLst>
            </p:cNvPr>
            <p:cNvSpPr/>
            <p:nvPr/>
          </p:nvSpPr>
          <p:spPr bwMode="auto">
            <a:xfrm>
              <a:off x="5106680" y="5484725"/>
              <a:ext cx="685800" cy="676274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46" name="Graphic 45" descr="Question mark">
              <a:extLst>
                <a:ext uri="{FF2B5EF4-FFF2-40B4-BE49-F238E27FC236}">
                  <a16:creationId xmlns:a16="http://schemas.microsoft.com/office/drawing/2014/main" id="{71B17AF3-DEA5-4807-97E6-70E4C5588E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5145914" y="5519196"/>
              <a:ext cx="607332" cy="6073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92730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>
            <a:extLst>
              <a:ext uri="{FF2B5EF4-FFF2-40B4-BE49-F238E27FC236}">
                <a16:creationId xmlns:a16="http://schemas.microsoft.com/office/drawing/2014/main" id="{D8ACAFFB-B040-427E-A7CB-4481E86951AA}"/>
              </a:ext>
            </a:extLst>
          </p:cNvPr>
          <p:cNvGrpSpPr/>
          <p:nvPr/>
        </p:nvGrpSpPr>
        <p:grpSpPr>
          <a:xfrm>
            <a:off x="332902" y="976854"/>
            <a:ext cx="11524667" cy="5404897"/>
            <a:chOff x="332902" y="976854"/>
            <a:chExt cx="11524667" cy="5404897"/>
          </a:xfrm>
        </p:grpSpPr>
        <p:sp>
          <p:nvSpPr>
            <p:cNvPr id="85" name="Content Placeholder 3">
              <a:extLst>
                <a:ext uri="{FF2B5EF4-FFF2-40B4-BE49-F238E27FC236}">
                  <a16:creationId xmlns:a16="http://schemas.microsoft.com/office/drawing/2014/main" id="{A39E8967-C325-4486-9E89-E214A4BD5F3D}"/>
                </a:ext>
              </a:extLst>
            </p:cNvPr>
            <p:cNvSpPr txBox="1">
              <a:spLocks/>
            </p:cNvSpPr>
            <p:nvPr/>
          </p:nvSpPr>
          <p:spPr>
            <a:xfrm>
              <a:off x="33443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84" name="Content Placeholder 3">
              <a:extLst>
                <a:ext uri="{FF2B5EF4-FFF2-40B4-BE49-F238E27FC236}">
                  <a16:creationId xmlns:a16="http://schemas.microsoft.com/office/drawing/2014/main" id="{E77F2CCC-0767-40D3-8638-E87CC0ECDA95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4DD0E6-D8EA-484C-A7D7-4220AC71EB7E}"/>
                </a:ext>
              </a:extLst>
            </p:cNvPr>
            <p:cNvSpPr/>
            <p:nvPr/>
          </p:nvSpPr>
          <p:spPr bwMode="auto">
            <a:xfrm>
              <a:off x="332903" y="4242816"/>
              <a:ext cx="5659967" cy="8736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61F42C7-052D-4736-956D-C1B849C1983B}"/>
                </a:ext>
              </a:extLst>
            </p:cNvPr>
            <p:cNvSpPr/>
            <p:nvPr/>
          </p:nvSpPr>
          <p:spPr bwMode="auto">
            <a:xfrm>
              <a:off x="332902" y="976854"/>
              <a:ext cx="5659967" cy="537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106F00F-8140-42FA-AA38-4A753D1805E2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65823AD-D2AB-499A-91F3-5463A463DB1E}"/>
                </a:ext>
              </a:extLst>
            </p:cNvPr>
            <p:cNvSpPr/>
            <p:nvPr/>
          </p:nvSpPr>
          <p:spPr bwMode="auto">
            <a:xfrm>
              <a:off x="6199951" y="3685537"/>
              <a:ext cx="5655264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8941E3-1D4C-4341-8202-8F6C6A4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81213"/>
            <a:ext cx="10586099" cy="360535"/>
          </a:xfrm>
        </p:spPr>
        <p:txBody>
          <a:bodyPr/>
          <a:lstStyle/>
          <a:p>
            <a:r>
              <a:rPr lang="en-US" dirty="0"/>
              <a:t>Trusted Orac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57755-3D2E-4554-ACEF-D54F6F2E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6372697" cy="288925"/>
          </a:xfrm>
        </p:spPr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320C9C-5361-4853-8036-5EDF9F6800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441426"/>
            <a:ext cx="10586102" cy="395287"/>
          </a:xfrm>
        </p:spPr>
        <p:txBody>
          <a:bodyPr/>
          <a:lstStyle/>
          <a:p>
            <a:r>
              <a:rPr lang="en-US" dirty="0"/>
              <a:t>Incentive-compatible Off-Chaining</a:t>
            </a:r>
          </a:p>
        </p:txBody>
      </p:sp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762DF801-F5CA-4A71-8942-BFC68C7AB16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630919" y="1560570"/>
            <a:ext cx="5063931" cy="262412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6C62C09-FDCE-4F89-A248-C82F1F05BBDE}"/>
              </a:ext>
            </a:extLst>
          </p:cNvPr>
          <p:cNvSpPr txBox="1"/>
          <p:nvPr/>
        </p:nvSpPr>
        <p:spPr>
          <a:xfrm>
            <a:off x="512015" y="4242816"/>
            <a:ext cx="519427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effectLst/>
                <a:latin typeface="+mj-lt"/>
              </a:rPr>
              <a:t>Generalized IOC Architecture</a:t>
            </a:r>
          </a:p>
          <a:p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Lo, S. K., Xu, X., Staples, M., &amp; Yao, L. (2020).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Reliability analysis for blockchain oracles. 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</a:b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Computers and Electrical Engineering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, 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83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, 106582. https://doi.org/10.1016/j.compeleceng.2020.10658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DCBC22-964C-466A-AA50-53943139CC74}"/>
              </a:ext>
            </a:extLst>
          </p:cNvPr>
          <p:cNvSpPr txBox="1"/>
          <p:nvPr/>
        </p:nvSpPr>
        <p:spPr>
          <a:xfrm>
            <a:off x="370894" y="1055634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ces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6" name="Date Placeholder 75">
            <a:extLst>
              <a:ext uri="{FF2B5EF4-FFF2-40B4-BE49-F238E27FC236}">
                <a16:creationId xmlns:a16="http://schemas.microsoft.com/office/drawing/2014/main" id="{1C382FD9-5648-4B2C-BC9A-A0662C0C8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7" name="Slide Number Placeholder 76">
            <a:extLst>
              <a:ext uri="{FF2B5EF4-FFF2-40B4-BE49-F238E27FC236}">
                <a16:creationId xmlns:a16="http://schemas.microsoft.com/office/drawing/2014/main" id="{5E936AF9-EAE2-4D02-BD61-427F3E4C7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C99056-BC90-4FA5-B356-5480FF8F5E47}"/>
              </a:ext>
            </a:extLst>
          </p:cNvPr>
          <p:cNvSpPr txBox="1"/>
          <p:nvPr/>
        </p:nvSpPr>
        <p:spPr>
          <a:xfrm>
            <a:off x="6324600" y="1056325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BF99A6B-CC3F-455B-9108-F0E078AE15C2}"/>
              </a:ext>
            </a:extLst>
          </p:cNvPr>
          <p:cNvGrpSpPr/>
          <p:nvPr/>
        </p:nvGrpSpPr>
        <p:grpSpPr>
          <a:xfrm>
            <a:off x="6781800" y="1589649"/>
            <a:ext cx="4667251" cy="483725"/>
            <a:chOff x="6781800" y="1561356"/>
            <a:chExt cx="4667251" cy="483725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3AE239D-B658-4F4D-95CF-5E5948CE7C91}"/>
                </a:ext>
              </a:extLst>
            </p:cNvPr>
            <p:cNvSpPr/>
            <p:nvPr/>
          </p:nvSpPr>
          <p:spPr>
            <a:xfrm>
              <a:off x="7010400" y="167068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dirty="0"/>
                <a:t>mature technology</a:t>
              </a:r>
            </a:p>
          </p:txBody>
        </p:sp>
        <p:pic>
          <p:nvPicPr>
            <p:cNvPr id="57" name="Graphic 56" descr="Add">
              <a:extLst>
                <a:ext uri="{FF2B5EF4-FFF2-40B4-BE49-F238E27FC236}">
                  <a16:creationId xmlns:a16="http://schemas.microsoft.com/office/drawing/2014/main" id="{CE0AACEA-B228-40D4-B6D0-BFC7B1A50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1561356"/>
              <a:ext cx="457200" cy="4572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3FC72C11-1C6A-4162-8AF3-091A1D61567A}"/>
              </a:ext>
            </a:extLst>
          </p:cNvPr>
          <p:cNvSpPr txBox="1"/>
          <p:nvPr/>
        </p:nvSpPr>
        <p:spPr>
          <a:xfrm>
            <a:off x="6324600" y="3754127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26C65F8-247F-4AA7-8AD5-00D9827CD64C}"/>
              </a:ext>
            </a:extLst>
          </p:cNvPr>
          <p:cNvGrpSpPr/>
          <p:nvPr/>
        </p:nvGrpSpPr>
        <p:grpSpPr>
          <a:xfrm>
            <a:off x="6781800" y="2317958"/>
            <a:ext cx="4667251" cy="479985"/>
            <a:chOff x="6781800" y="2177556"/>
            <a:chExt cx="4667251" cy="47998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FA8ABEC-A913-4A15-9D3A-C9AEE8618A12}"/>
                </a:ext>
              </a:extLst>
            </p:cNvPr>
            <p:cNvSpPr/>
            <p:nvPr/>
          </p:nvSpPr>
          <p:spPr>
            <a:xfrm>
              <a:off x="7010400" y="228314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dirty="0"/>
                <a:t>transparent aggregation</a:t>
              </a:r>
            </a:p>
          </p:txBody>
        </p:sp>
        <p:pic>
          <p:nvPicPr>
            <p:cNvPr id="58" name="Graphic 57" descr="Add">
              <a:extLst>
                <a:ext uri="{FF2B5EF4-FFF2-40B4-BE49-F238E27FC236}">
                  <a16:creationId xmlns:a16="http://schemas.microsoft.com/office/drawing/2014/main" id="{D077DF5A-3867-4C04-B6A0-B9879E49C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2177556"/>
              <a:ext cx="457200" cy="4572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295EC97-BA78-40C9-B3E1-371BE5696E22}"/>
              </a:ext>
            </a:extLst>
          </p:cNvPr>
          <p:cNvGrpSpPr/>
          <p:nvPr/>
        </p:nvGrpSpPr>
        <p:grpSpPr>
          <a:xfrm>
            <a:off x="6781800" y="3015624"/>
            <a:ext cx="4661031" cy="492000"/>
            <a:chOff x="6788020" y="2778000"/>
            <a:chExt cx="4661031" cy="49200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279B55E-DC58-4A95-AA31-1A621D87BB51}"/>
                </a:ext>
              </a:extLst>
            </p:cNvPr>
            <p:cNvSpPr/>
            <p:nvPr/>
          </p:nvSpPr>
          <p:spPr>
            <a:xfrm>
              <a:off x="7010400" y="2895600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native execution performance</a:t>
              </a:r>
            </a:p>
          </p:txBody>
        </p:sp>
        <p:pic>
          <p:nvPicPr>
            <p:cNvPr id="59" name="Graphic 58" descr="Add">
              <a:extLst>
                <a:ext uri="{FF2B5EF4-FFF2-40B4-BE49-F238E27FC236}">
                  <a16:creationId xmlns:a16="http://schemas.microsoft.com/office/drawing/2014/main" id="{8FC0D5F3-6D43-4F90-9DE7-EAB98B11C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8020" y="2778000"/>
              <a:ext cx="457200" cy="4572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765F682-E0F4-40CB-A678-6E26904A6244}"/>
              </a:ext>
            </a:extLst>
          </p:cNvPr>
          <p:cNvGrpSpPr/>
          <p:nvPr/>
        </p:nvGrpSpPr>
        <p:grpSpPr>
          <a:xfrm>
            <a:off x="6820782" y="5118409"/>
            <a:ext cx="4627336" cy="374400"/>
            <a:chOff x="6821715" y="4963433"/>
            <a:chExt cx="4627336" cy="374400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CEBE8151-A99A-4B72-B469-727A4D6DE8F8}"/>
                </a:ext>
              </a:extLst>
            </p:cNvPr>
            <p:cNvSpPr/>
            <p:nvPr/>
          </p:nvSpPr>
          <p:spPr>
            <a:xfrm>
              <a:off x="7010400" y="496343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dirty="0"/>
                <a:t>no cryptographic guarantees</a:t>
              </a:r>
            </a:p>
          </p:txBody>
        </p:sp>
        <p:sp>
          <p:nvSpPr>
            <p:cNvPr id="67" name="Graphic 62" descr="Add">
              <a:extLst>
                <a:ext uri="{FF2B5EF4-FFF2-40B4-BE49-F238E27FC236}">
                  <a16:creationId xmlns:a16="http://schemas.microsoft.com/office/drawing/2014/main" id="{5BA47E38-2A7B-4439-9E61-96F311DA9D5C}"/>
                </a:ext>
              </a:extLst>
            </p:cNvPr>
            <p:cNvSpPr/>
            <p:nvPr/>
          </p:nvSpPr>
          <p:spPr>
            <a:xfrm>
              <a:off x="6821715" y="5061069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6BDB43-6F1B-43B8-9A2D-52FAFF931A5B}"/>
              </a:ext>
            </a:extLst>
          </p:cNvPr>
          <p:cNvGrpSpPr/>
          <p:nvPr/>
        </p:nvGrpSpPr>
        <p:grpSpPr>
          <a:xfrm>
            <a:off x="6821715" y="4401269"/>
            <a:ext cx="4629151" cy="374400"/>
            <a:chOff x="6819900" y="4350973"/>
            <a:chExt cx="4629151" cy="374400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A9326D-CCF2-4FEF-9BD1-505CB0B1B188}"/>
                </a:ext>
              </a:extLst>
            </p:cNvPr>
            <p:cNvSpPr/>
            <p:nvPr/>
          </p:nvSpPr>
          <p:spPr>
            <a:xfrm>
              <a:off x="7010400" y="435097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slow aggregation</a:t>
              </a:r>
            </a:p>
          </p:txBody>
        </p:sp>
        <p:sp>
          <p:nvSpPr>
            <p:cNvPr id="68" name="Graphic 62" descr="Add">
              <a:extLst>
                <a:ext uri="{FF2B5EF4-FFF2-40B4-BE49-F238E27FC236}">
                  <a16:creationId xmlns:a16="http://schemas.microsoft.com/office/drawing/2014/main" id="{A04CDF75-5A53-417D-8DC4-1185A02AEDE5}"/>
                </a:ext>
              </a:extLst>
            </p:cNvPr>
            <p:cNvSpPr/>
            <p:nvPr/>
          </p:nvSpPr>
          <p:spPr>
            <a:xfrm>
              <a:off x="6819900" y="4451496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80676A-21F4-43E4-8BCF-553820240A0E}"/>
              </a:ext>
            </a:extLst>
          </p:cNvPr>
          <p:cNvGrpSpPr/>
          <p:nvPr/>
        </p:nvGrpSpPr>
        <p:grpSpPr>
          <a:xfrm>
            <a:off x="6820782" y="5795627"/>
            <a:ext cx="4622049" cy="374400"/>
            <a:chOff x="6827002" y="5575892"/>
            <a:chExt cx="4622049" cy="374400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6E6E43C-4408-4014-BC15-B4F9E71A3CD6}"/>
                </a:ext>
              </a:extLst>
            </p:cNvPr>
            <p:cNvSpPr/>
            <p:nvPr/>
          </p:nvSpPr>
          <p:spPr>
            <a:xfrm>
              <a:off x="7010400" y="5575892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requires honest majority</a:t>
              </a:r>
            </a:p>
          </p:txBody>
        </p:sp>
        <p:sp>
          <p:nvSpPr>
            <p:cNvPr id="69" name="Graphic 62" descr="Add">
              <a:extLst>
                <a:ext uri="{FF2B5EF4-FFF2-40B4-BE49-F238E27FC236}">
                  <a16:creationId xmlns:a16="http://schemas.microsoft.com/office/drawing/2014/main" id="{6A34726C-0591-4FE9-839B-D6003BBCED9C}"/>
                </a:ext>
              </a:extLst>
            </p:cNvPr>
            <p:cNvSpPr/>
            <p:nvPr/>
          </p:nvSpPr>
          <p:spPr>
            <a:xfrm>
              <a:off x="6827002" y="5670642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5C729B4A-67E1-40FE-8C3A-C0FB32A7C2B7}"/>
              </a:ext>
            </a:extLst>
          </p:cNvPr>
          <p:cNvSpPr/>
          <p:nvPr/>
        </p:nvSpPr>
        <p:spPr>
          <a:xfrm>
            <a:off x="332902" y="5337833"/>
            <a:ext cx="2031601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0 w 2056495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365760" bIns="16002" numCol="1" spcCol="1270" anchor="ctr" anchorCtr="0">
            <a:noAutofit/>
          </a:bodyPr>
          <a:lstStyle/>
          <a:p>
            <a:pPr marL="0" lvl="0" indent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execute computation </a:t>
            </a:r>
            <a:br>
              <a:rPr lang="en-US" sz="1200" kern="1200" dirty="0"/>
            </a:br>
            <a:r>
              <a:rPr lang="en-US" sz="1200" kern="1200" dirty="0"/>
              <a:t>on multiple nodes</a:t>
            </a: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E118AB2B-956A-4F79-8969-A68F94F79B2D}"/>
              </a:ext>
            </a:extLst>
          </p:cNvPr>
          <p:cNvSpPr/>
          <p:nvPr/>
        </p:nvSpPr>
        <p:spPr>
          <a:xfrm>
            <a:off x="2162405" y="5337833"/>
            <a:ext cx="2020990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411299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0" tIns="16002" rIns="365760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collect and merge individual results</a:t>
            </a: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FAE99589-45B4-4AD7-AF07-8248D88C3534}"/>
              </a:ext>
            </a:extLst>
          </p:cNvPr>
          <p:cNvSpPr/>
          <p:nvPr/>
        </p:nvSpPr>
        <p:spPr>
          <a:xfrm>
            <a:off x="3981296" y="5337833"/>
            <a:ext cx="2011573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4112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2969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0461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12373 w 1645196"/>
              <a:gd name="connsiteY4" fmla="*/ 411299 h 822598"/>
              <a:gd name="connsiteX5" fmla="*/ 0 w 1645196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5196" h="822598">
                <a:moveTo>
                  <a:pt x="0" y="0"/>
                </a:moveTo>
                <a:lnTo>
                  <a:pt x="1645196" y="0"/>
                </a:lnTo>
                <a:lnTo>
                  <a:pt x="1645196" y="822598"/>
                </a:lnTo>
                <a:lnTo>
                  <a:pt x="0" y="822598"/>
                </a:lnTo>
                <a:lnTo>
                  <a:pt x="312373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16002" rIns="91440" bIns="16002" numCol="1" spcCol="1270" anchor="ctr" anchorCtr="0">
            <a:noAutofit/>
          </a:bodyPr>
          <a:lstStyle/>
          <a:p>
            <a:pPr marL="0" lvl="0" indent="0" algn="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reward correct results</a:t>
            </a:r>
            <a:br>
              <a:rPr lang="en-US" sz="1200" kern="1200" dirty="0"/>
            </a:br>
            <a:br>
              <a:rPr lang="en-US" sz="1200" kern="1200" dirty="0"/>
            </a:br>
            <a:r>
              <a:rPr lang="en-US" sz="1200" kern="1200" dirty="0"/>
              <a:t>punish incorrect results</a:t>
            </a:r>
          </a:p>
        </p:txBody>
      </p:sp>
    </p:spTree>
    <p:extLst>
      <p:ext uri="{BB962C8B-B14F-4D97-AF65-F5344CB8AC3E}">
        <p14:creationId xmlns:p14="http://schemas.microsoft.com/office/powerpoint/2010/main" val="35960928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9" grpId="0"/>
      <p:bldP spid="91" grpId="0" animBg="1"/>
      <p:bldP spid="92" grpId="0" animBg="1"/>
      <p:bldP spid="9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>
            <a:extLst>
              <a:ext uri="{FF2B5EF4-FFF2-40B4-BE49-F238E27FC236}">
                <a16:creationId xmlns:a16="http://schemas.microsoft.com/office/drawing/2014/main" id="{D8ACAFFB-B040-427E-A7CB-4481E86951AA}"/>
              </a:ext>
            </a:extLst>
          </p:cNvPr>
          <p:cNvGrpSpPr/>
          <p:nvPr/>
        </p:nvGrpSpPr>
        <p:grpSpPr>
          <a:xfrm>
            <a:off x="332902" y="976854"/>
            <a:ext cx="11524667" cy="5404897"/>
            <a:chOff x="332902" y="976854"/>
            <a:chExt cx="11524667" cy="5404897"/>
          </a:xfrm>
        </p:grpSpPr>
        <p:sp>
          <p:nvSpPr>
            <p:cNvPr id="85" name="Content Placeholder 3">
              <a:extLst>
                <a:ext uri="{FF2B5EF4-FFF2-40B4-BE49-F238E27FC236}">
                  <a16:creationId xmlns:a16="http://schemas.microsoft.com/office/drawing/2014/main" id="{A39E8967-C325-4486-9E89-E214A4BD5F3D}"/>
                </a:ext>
              </a:extLst>
            </p:cNvPr>
            <p:cNvSpPr txBox="1">
              <a:spLocks/>
            </p:cNvSpPr>
            <p:nvPr/>
          </p:nvSpPr>
          <p:spPr>
            <a:xfrm>
              <a:off x="33443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84" name="Content Placeholder 3">
              <a:extLst>
                <a:ext uri="{FF2B5EF4-FFF2-40B4-BE49-F238E27FC236}">
                  <a16:creationId xmlns:a16="http://schemas.microsoft.com/office/drawing/2014/main" id="{E77F2CCC-0767-40D3-8638-E87CC0ECDA95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4DD0E6-D8EA-484C-A7D7-4220AC71EB7E}"/>
                </a:ext>
              </a:extLst>
            </p:cNvPr>
            <p:cNvSpPr/>
            <p:nvPr/>
          </p:nvSpPr>
          <p:spPr bwMode="auto">
            <a:xfrm>
              <a:off x="332903" y="4242816"/>
              <a:ext cx="5659967" cy="8736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61F42C7-052D-4736-956D-C1B849C1983B}"/>
                </a:ext>
              </a:extLst>
            </p:cNvPr>
            <p:cNvSpPr/>
            <p:nvPr/>
          </p:nvSpPr>
          <p:spPr bwMode="auto">
            <a:xfrm>
              <a:off x="332902" y="976854"/>
              <a:ext cx="5659967" cy="537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106F00F-8140-42FA-AA38-4A753D1805E2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65823AD-D2AB-499A-91F3-5463A463DB1E}"/>
                </a:ext>
              </a:extLst>
            </p:cNvPr>
            <p:cNvSpPr/>
            <p:nvPr/>
          </p:nvSpPr>
          <p:spPr bwMode="auto">
            <a:xfrm>
              <a:off x="6199951" y="3685537"/>
              <a:ext cx="5655264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8941E3-1D4C-4341-8202-8F6C6A4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81213"/>
            <a:ext cx="10586099" cy="360535"/>
          </a:xfrm>
        </p:spPr>
        <p:txBody>
          <a:bodyPr/>
          <a:lstStyle/>
          <a:p>
            <a:r>
              <a:rPr lang="en-US" dirty="0"/>
              <a:t>Trusted Orac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57755-3D2E-4554-ACEF-D54F6F2E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6372697" cy="288925"/>
          </a:xfrm>
        </p:spPr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320C9C-5361-4853-8036-5EDF9F6800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441426"/>
            <a:ext cx="10586102" cy="395287"/>
          </a:xfrm>
        </p:spPr>
        <p:txBody>
          <a:bodyPr/>
          <a:lstStyle/>
          <a:p>
            <a:r>
              <a:rPr lang="en-US" dirty="0"/>
              <a:t>Trusted Execution Environments</a:t>
            </a:r>
          </a:p>
        </p:txBody>
      </p:sp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762DF801-F5CA-4A71-8942-BFC68C7AB16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53505" y="1560570"/>
            <a:ext cx="3418758" cy="262412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6C62C09-FDCE-4F89-A248-C82F1F05BBDE}"/>
              </a:ext>
            </a:extLst>
          </p:cNvPr>
          <p:cNvSpPr txBox="1"/>
          <p:nvPr/>
        </p:nvSpPr>
        <p:spPr>
          <a:xfrm>
            <a:off x="512015" y="4242816"/>
            <a:ext cx="519427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EE Memory Layout (Intel SGX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ost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V., &amp; Devadas, S. (2016)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tel SGX Explained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ACR Cryptology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Prin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Archive, 1–118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ttps://doi.org/10.1159/000088809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DCBC22-964C-466A-AA50-53943139CC74}"/>
              </a:ext>
            </a:extLst>
          </p:cNvPr>
          <p:cNvSpPr txBox="1"/>
          <p:nvPr/>
        </p:nvSpPr>
        <p:spPr>
          <a:xfrm>
            <a:off x="370894" y="1055634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ces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6" name="Date Placeholder 75">
            <a:extLst>
              <a:ext uri="{FF2B5EF4-FFF2-40B4-BE49-F238E27FC236}">
                <a16:creationId xmlns:a16="http://schemas.microsoft.com/office/drawing/2014/main" id="{1C382FD9-5648-4B2C-BC9A-A0662C0C8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7" name="Slide Number Placeholder 76">
            <a:extLst>
              <a:ext uri="{FF2B5EF4-FFF2-40B4-BE49-F238E27FC236}">
                <a16:creationId xmlns:a16="http://schemas.microsoft.com/office/drawing/2014/main" id="{5E936AF9-EAE2-4D02-BD61-427F3E4C7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C99056-BC90-4FA5-B356-5480FF8F5E47}"/>
              </a:ext>
            </a:extLst>
          </p:cNvPr>
          <p:cNvSpPr txBox="1"/>
          <p:nvPr/>
        </p:nvSpPr>
        <p:spPr>
          <a:xfrm>
            <a:off x="6324600" y="1056325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BF99A6B-CC3F-455B-9108-F0E078AE15C2}"/>
              </a:ext>
            </a:extLst>
          </p:cNvPr>
          <p:cNvGrpSpPr/>
          <p:nvPr/>
        </p:nvGrpSpPr>
        <p:grpSpPr>
          <a:xfrm>
            <a:off x="6781800" y="1589649"/>
            <a:ext cx="4667251" cy="483725"/>
            <a:chOff x="6781800" y="1561356"/>
            <a:chExt cx="4667251" cy="483725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3AE239D-B658-4F4D-95CF-5E5948CE7C91}"/>
                </a:ext>
              </a:extLst>
            </p:cNvPr>
            <p:cNvSpPr/>
            <p:nvPr/>
          </p:nvSpPr>
          <p:spPr>
            <a:xfrm>
              <a:off x="7010400" y="167068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broad availability</a:t>
              </a:r>
            </a:p>
          </p:txBody>
        </p:sp>
        <p:pic>
          <p:nvPicPr>
            <p:cNvPr id="57" name="Graphic 56" descr="Add">
              <a:extLst>
                <a:ext uri="{FF2B5EF4-FFF2-40B4-BE49-F238E27FC236}">
                  <a16:creationId xmlns:a16="http://schemas.microsoft.com/office/drawing/2014/main" id="{CE0AACEA-B228-40D4-B6D0-BFC7B1A50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1561356"/>
              <a:ext cx="457200" cy="4572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3FC72C11-1C6A-4162-8AF3-091A1D61567A}"/>
              </a:ext>
            </a:extLst>
          </p:cNvPr>
          <p:cNvSpPr txBox="1"/>
          <p:nvPr/>
        </p:nvSpPr>
        <p:spPr>
          <a:xfrm>
            <a:off x="6324600" y="3754127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26C65F8-247F-4AA7-8AD5-00D9827CD64C}"/>
              </a:ext>
            </a:extLst>
          </p:cNvPr>
          <p:cNvGrpSpPr/>
          <p:nvPr/>
        </p:nvGrpSpPr>
        <p:grpSpPr>
          <a:xfrm>
            <a:off x="6781800" y="2317958"/>
            <a:ext cx="4667251" cy="479985"/>
            <a:chOff x="6781800" y="2177556"/>
            <a:chExt cx="4667251" cy="47998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FA8ABEC-A913-4A15-9D3A-C9AEE8618A12}"/>
                </a:ext>
              </a:extLst>
            </p:cNvPr>
            <p:cNvSpPr/>
            <p:nvPr/>
          </p:nvSpPr>
          <p:spPr>
            <a:xfrm>
              <a:off x="7010400" y="228314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near-native execution performance</a:t>
              </a:r>
            </a:p>
          </p:txBody>
        </p:sp>
        <p:pic>
          <p:nvPicPr>
            <p:cNvPr id="58" name="Graphic 57" descr="Add">
              <a:extLst>
                <a:ext uri="{FF2B5EF4-FFF2-40B4-BE49-F238E27FC236}">
                  <a16:creationId xmlns:a16="http://schemas.microsoft.com/office/drawing/2014/main" id="{D077DF5A-3867-4C04-B6A0-B9879E49C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2177556"/>
              <a:ext cx="457200" cy="4572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295EC97-BA78-40C9-B3E1-371BE5696E22}"/>
              </a:ext>
            </a:extLst>
          </p:cNvPr>
          <p:cNvGrpSpPr/>
          <p:nvPr/>
        </p:nvGrpSpPr>
        <p:grpSpPr>
          <a:xfrm>
            <a:off x="6781800" y="3015624"/>
            <a:ext cx="4661031" cy="492000"/>
            <a:chOff x="6788020" y="2778000"/>
            <a:chExt cx="4661031" cy="49200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279B55E-DC58-4A95-AA31-1A621D87BB51}"/>
                </a:ext>
              </a:extLst>
            </p:cNvPr>
            <p:cNvSpPr/>
            <p:nvPr/>
          </p:nvSpPr>
          <p:spPr>
            <a:xfrm>
              <a:off x="7010400" y="2895600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kern="1200" dirty="0"/>
                <a:t>encryption of private data</a:t>
              </a:r>
            </a:p>
          </p:txBody>
        </p:sp>
        <p:pic>
          <p:nvPicPr>
            <p:cNvPr id="59" name="Graphic 58" descr="Add">
              <a:extLst>
                <a:ext uri="{FF2B5EF4-FFF2-40B4-BE49-F238E27FC236}">
                  <a16:creationId xmlns:a16="http://schemas.microsoft.com/office/drawing/2014/main" id="{8FC0D5F3-6D43-4F90-9DE7-EAB98B11C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8020" y="2778000"/>
              <a:ext cx="457200" cy="4572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765F682-E0F4-40CB-A678-6E26904A6244}"/>
              </a:ext>
            </a:extLst>
          </p:cNvPr>
          <p:cNvGrpSpPr/>
          <p:nvPr/>
        </p:nvGrpSpPr>
        <p:grpSpPr>
          <a:xfrm>
            <a:off x="6820782" y="5118409"/>
            <a:ext cx="4627336" cy="374400"/>
            <a:chOff x="6821715" y="4963433"/>
            <a:chExt cx="4627336" cy="374400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CEBE8151-A99A-4B72-B469-727A4D6DE8F8}"/>
                </a:ext>
              </a:extLst>
            </p:cNvPr>
            <p:cNvSpPr/>
            <p:nvPr/>
          </p:nvSpPr>
          <p:spPr>
            <a:xfrm>
              <a:off x="7010400" y="496343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no access to hardware (e.g. network)</a:t>
              </a:r>
            </a:p>
          </p:txBody>
        </p:sp>
        <p:sp>
          <p:nvSpPr>
            <p:cNvPr id="67" name="Graphic 62" descr="Add">
              <a:extLst>
                <a:ext uri="{FF2B5EF4-FFF2-40B4-BE49-F238E27FC236}">
                  <a16:creationId xmlns:a16="http://schemas.microsoft.com/office/drawing/2014/main" id="{5BA47E38-2A7B-4439-9E61-96F311DA9D5C}"/>
                </a:ext>
              </a:extLst>
            </p:cNvPr>
            <p:cNvSpPr/>
            <p:nvPr/>
          </p:nvSpPr>
          <p:spPr>
            <a:xfrm>
              <a:off x="6821715" y="5061069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6BDB43-6F1B-43B8-9A2D-52FAFF931A5B}"/>
              </a:ext>
            </a:extLst>
          </p:cNvPr>
          <p:cNvGrpSpPr/>
          <p:nvPr/>
        </p:nvGrpSpPr>
        <p:grpSpPr>
          <a:xfrm>
            <a:off x="6821715" y="4401269"/>
            <a:ext cx="4629151" cy="374400"/>
            <a:chOff x="6819900" y="4350973"/>
            <a:chExt cx="4629151" cy="374400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A9326D-CCF2-4FEF-9BD1-505CB0B1B188}"/>
                </a:ext>
              </a:extLst>
            </p:cNvPr>
            <p:cNvSpPr/>
            <p:nvPr/>
          </p:nvSpPr>
          <p:spPr>
            <a:xfrm>
              <a:off x="7010400" y="435097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vendor as trusted third party</a:t>
              </a:r>
            </a:p>
          </p:txBody>
        </p:sp>
        <p:sp>
          <p:nvSpPr>
            <p:cNvPr id="68" name="Graphic 62" descr="Add">
              <a:extLst>
                <a:ext uri="{FF2B5EF4-FFF2-40B4-BE49-F238E27FC236}">
                  <a16:creationId xmlns:a16="http://schemas.microsoft.com/office/drawing/2014/main" id="{A04CDF75-5A53-417D-8DC4-1185A02AEDE5}"/>
                </a:ext>
              </a:extLst>
            </p:cNvPr>
            <p:cNvSpPr/>
            <p:nvPr/>
          </p:nvSpPr>
          <p:spPr>
            <a:xfrm>
              <a:off x="6819900" y="4451496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80676A-21F4-43E4-8BCF-553820240A0E}"/>
              </a:ext>
            </a:extLst>
          </p:cNvPr>
          <p:cNvGrpSpPr/>
          <p:nvPr/>
        </p:nvGrpSpPr>
        <p:grpSpPr>
          <a:xfrm>
            <a:off x="6820782" y="5795627"/>
            <a:ext cx="4622049" cy="374400"/>
            <a:chOff x="6827002" y="5575892"/>
            <a:chExt cx="4622049" cy="374400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6E6E43C-4408-4014-BC15-B4F9E71A3CD6}"/>
                </a:ext>
              </a:extLst>
            </p:cNvPr>
            <p:cNvSpPr/>
            <p:nvPr/>
          </p:nvSpPr>
          <p:spPr>
            <a:xfrm>
              <a:off x="7010400" y="5575892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known side-channel attacks</a:t>
              </a:r>
            </a:p>
          </p:txBody>
        </p:sp>
        <p:sp>
          <p:nvSpPr>
            <p:cNvPr id="69" name="Graphic 62" descr="Add">
              <a:extLst>
                <a:ext uri="{FF2B5EF4-FFF2-40B4-BE49-F238E27FC236}">
                  <a16:creationId xmlns:a16="http://schemas.microsoft.com/office/drawing/2014/main" id="{6A34726C-0591-4FE9-839B-D6003BBCED9C}"/>
                </a:ext>
              </a:extLst>
            </p:cNvPr>
            <p:cNvSpPr/>
            <p:nvPr/>
          </p:nvSpPr>
          <p:spPr>
            <a:xfrm>
              <a:off x="6827002" y="5670642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5C729B4A-67E1-40FE-8C3A-C0FB32A7C2B7}"/>
              </a:ext>
            </a:extLst>
          </p:cNvPr>
          <p:cNvSpPr/>
          <p:nvPr/>
        </p:nvSpPr>
        <p:spPr>
          <a:xfrm>
            <a:off x="332902" y="5337833"/>
            <a:ext cx="2031601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0 w 2056495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365760" bIns="16002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install cryptographic coprocessors on CPU</a:t>
            </a: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E118AB2B-956A-4F79-8969-A68F94F79B2D}"/>
              </a:ext>
            </a:extLst>
          </p:cNvPr>
          <p:cNvSpPr/>
          <p:nvPr/>
        </p:nvSpPr>
        <p:spPr>
          <a:xfrm>
            <a:off x="2162405" y="5337833"/>
            <a:ext cx="2020990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411299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0" tIns="16002" rIns="365760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create secure environment at runtime</a:t>
            </a: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FAE99589-45B4-4AD7-AF07-8248D88C3534}"/>
              </a:ext>
            </a:extLst>
          </p:cNvPr>
          <p:cNvSpPr/>
          <p:nvPr/>
        </p:nvSpPr>
        <p:spPr>
          <a:xfrm>
            <a:off x="3981296" y="5337833"/>
            <a:ext cx="2011573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4112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2969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0461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12373 w 1645196"/>
              <a:gd name="connsiteY4" fmla="*/ 411299 h 822598"/>
              <a:gd name="connsiteX5" fmla="*/ 0 w 1645196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5196" h="822598">
                <a:moveTo>
                  <a:pt x="0" y="0"/>
                </a:moveTo>
                <a:lnTo>
                  <a:pt x="1645196" y="0"/>
                </a:lnTo>
                <a:lnTo>
                  <a:pt x="1645196" y="822598"/>
                </a:lnTo>
                <a:lnTo>
                  <a:pt x="0" y="822598"/>
                </a:lnTo>
                <a:lnTo>
                  <a:pt x="312373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274320" bIns="16002" numCol="1" spcCol="1270" anchor="ctr" anchorCtr="0">
            <a:noAutofit/>
          </a:bodyPr>
          <a:lstStyle/>
          <a:p>
            <a:pPr lvl="0" algn="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certify </a:t>
            </a:r>
            <a:br>
              <a:rPr lang="en-US" sz="1200" dirty="0"/>
            </a:br>
            <a:r>
              <a:rPr lang="en-US" sz="1200" dirty="0"/>
              <a:t>program integrity </a:t>
            </a:r>
            <a:br>
              <a:rPr lang="en-US" sz="1200" dirty="0"/>
            </a:br>
            <a:r>
              <a:rPr lang="en-US" sz="1200" dirty="0"/>
              <a:t>after completion</a:t>
            </a:r>
          </a:p>
        </p:txBody>
      </p:sp>
    </p:spTree>
    <p:extLst>
      <p:ext uri="{BB962C8B-B14F-4D97-AF65-F5344CB8AC3E}">
        <p14:creationId xmlns:p14="http://schemas.microsoft.com/office/powerpoint/2010/main" val="41395673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9" grpId="0"/>
      <p:bldP spid="91" grpId="0" animBg="1"/>
      <p:bldP spid="92" grpId="0" animBg="1"/>
      <p:bldP spid="9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>
            <a:extLst>
              <a:ext uri="{FF2B5EF4-FFF2-40B4-BE49-F238E27FC236}">
                <a16:creationId xmlns:a16="http://schemas.microsoft.com/office/drawing/2014/main" id="{D8ACAFFB-B040-427E-A7CB-4481E86951AA}"/>
              </a:ext>
            </a:extLst>
          </p:cNvPr>
          <p:cNvGrpSpPr/>
          <p:nvPr/>
        </p:nvGrpSpPr>
        <p:grpSpPr>
          <a:xfrm>
            <a:off x="332902" y="976854"/>
            <a:ext cx="11524667" cy="5404897"/>
            <a:chOff x="332902" y="976854"/>
            <a:chExt cx="11524667" cy="5404897"/>
          </a:xfrm>
        </p:grpSpPr>
        <p:sp>
          <p:nvSpPr>
            <p:cNvPr id="85" name="Content Placeholder 3">
              <a:extLst>
                <a:ext uri="{FF2B5EF4-FFF2-40B4-BE49-F238E27FC236}">
                  <a16:creationId xmlns:a16="http://schemas.microsoft.com/office/drawing/2014/main" id="{A39E8967-C325-4486-9E89-E214A4BD5F3D}"/>
                </a:ext>
              </a:extLst>
            </p:cNvPr>
            <p:cNvSpPr txBox="1">
              <a:spLocks/>
            </p:cNvSpPr>
            <p:nvPr/>
          </p:nvSpPr>
          <p:spPr>
            <a:xfrm>
              <a:off x="33443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84" name="Content Placeholder 3">
              <a:extLst>
                <a:ext uri="{FF2B5EF4-FFF2-40B4-BE49-F238E27FC236}">
                  <a16:creationId xmlns:a16="http://schemas.microsoft.com/office/drawing/2014/main" id="{E77F2CCC-0767-40D3-8638-E87CC0ECDA95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4DD0E6-D8EA-484C-A7D7-4220AC71EB7E}"/>
                </a:ext>
              </a:extLst>
            </p:cNvPr>
            <p:cNvSpPr/>
            <p:nvPr/>
          </p:nvSpPr>
          <p:spPr bwMode="auto">
            <a:xfrm>
              <a:off x="332903" y="4242816"/>
              <a:ext cx="5659967" cy="8736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61F42C7-052D-4736-956D-C1B849C1983B}"/>
                </a:ext>
              </a:extLst>
            </p:cNvPr>
            <p:cNvSpPr/>
            <p:nvPr/>
          </p:nvSpPr>
          <p:spPr bwMode="auto">
            <a:xfrm>
              <a:off x="332902" y="976854"/>
              <a:ext cx="5659967" cy="537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106F00F-8140-42FA-AA38-4A753D1805E2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65823AD-D2AB-499A-91F3-5463A463DB1E}"/>
                </a:ext>
              </a:extLst>
            </p:cNvPr>
            <p:cNvSpPr/>
            <p:nvPr/>
          </p:nvSpPr>
          <p:spPr bwMode="auto">
            <a:xfrm>
              <a:off x="6199951" y="3685537"/>
              <a:ext cx="5655264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8941E3-1D4C-4341-8202-8F6C6A4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81213"/>
            <a:ext cx="10586099" cy="360535"/>
          </a:xfrm>
        </p:spPr>
        <p:txBody>
          <a:bodyPr/>
          <a:lstStyle/>
          <a:p>
            <a:r>
              <a:rPr lang="en-US" dirty="0"/>
              <a:t>Zero-Knowledge Proof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57755-3D2E-4554-ACEF-D54F6F2E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6372697" cy="288925"/>
          </a:xfrm>
        </p:spPr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320C9C-5361-4853-8036-5EDF9F6800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441426"/>
            <a:ext cx="10586102" cy="395287"/>
          </a:xfrm>
        </p:spPr>
        <p:txBody>
          <a:bodyPr/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baseline="0" dirty="0"/>
              <a:t>Preprocessing </a:t>
            </a:r>
            <a:r>
              <a:rPr lang="en-US" sz="2000" kern="1200" baseline="0" dirty="0" err="1"/>
              <a:t>zkSNARKs</a:t>
            </a:r>
            <a:endParaRPr lang="en-US" sz="2000" kern="1200" dirty="0"/>
          </a:p>
        </p:txBody>
      </p:sp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762DF801-F5CA-4A71-8942-BFC68C7AB16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5598" y="2272444"/>
            <a:ext cx="5374572" cy="120038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6C62C09-FDCE-4F89-A248-C82F1F05BBDE}"/>
              </a:ext>
            </a:extLst>
          </p:cNvPr>
          <p:cNvSpPr txBox="1"/>
          <p:nvPr/>
        </p:nvSpPr>
        <p:spPr>
          <a:xfrm>
            <a:off x="512015" y="4242816"/>
            <a:ext cx="519427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eneralized Preprocessing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zkSNAR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Workflow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en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ass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E., Chiesa, A.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rom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E., &amp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Virz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M. (2013)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ccinct Non-Interactive Arguments for a von Neumann Architecture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USENIX Security, 1–35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ttp://dblp.uni-trier.de/db/conf/uss/uss2014.html#Ben-SassonCTV1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DCBC22-964C-466A-AA50-53943139CC74}"/>
              </a:ext>
            </a:extLst>
          </p:cNvPr>
          <p:cNvSpPr txBox="1"/>
          <p:nvPr/>
        </p:nvSpPr>
        <p:spPr>
          <a:xfrm>
            <a:off x="370894" y="1055634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ces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6" name="Date Placeholder 75">
            <a:extLst>
              <a:ext uri="{FF2B5EF4-FFF2-40B4-BE49-F238E27FC236}">
                <a16:creationId xmlns:a16="http://schemas.microsoft.com/office/drawing/2014/main" id="{1C382FD9-5648-4B2C-BC9A-A0662C0C8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7" name="Slide Number Placeholder 76">
            <a:extLst>
              <a:ext uri="{FF2B5EF4-FFF2-40B4-BE49-F238E27FC236}">
                <a16:creationId xmlns:a16="http://schemas.microsoft.com/office/drawing/2014/main" id="{5E936AF9-EAE2-4D02-BD61-427F3E4C7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C99056-BC90-4FA5-B356-5480FF8F5E47}"/>
              </a:ext>
            </a:extLst>
          </p:cNvPr>
          <p:cNvSpPr txBox="1"/>
          <p:nvPr/>
        </p:nvSpPr>
        <p:spPr>
          <a:xfrm>
            <a:off x="6324600" y="1056325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BF99A6B-CC3F-455B-9108-F0E078AE15C2}"/>
              </a:ext>
            </a:extLst>
          </p:cNvPr>
          <p:cNvGrpSpPr/>
          <p:nvPr/>
        </p:nvGrpSpPr>
        <p:grpSpPr>
          <a:xfrm>
            <a:off x="6781800" y="1589649"/>
            <a:ext cx="4667251" cy="483725"/>
            <a:chOff x="6781800" y="1561356"/>
            <a:chExt cx="4667251" cy="483725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3AE239D-B658-4F4D-95CF-5E5948CE7C91}"/>
                </a:ext>
              </a:extLst>
            </p:cNvPr>
            <p:cNvSpPr/>
            <p:nvPr/>
          </p:nvSpPr>
          <p:spPr>
            <a:xfrm>
              <a:off x="7010400" y="167068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cryptographically secure</a:t>
              </a:r>
            </a:p>
          </p:txBody>
        </p:sp>
        <p:pic>
          <p:nvPicPr>
            <p:cNvPr id="57" name="Graphic 56" descr="Add">
              <a:extLst>
                <a:ext uri="{FF2B5EF4-FFF2-40B4-BE49-F238E27FC236}">
                  <a16:creationId xmlns:a16="http://schemas.microsoft.com/office/drawing/2014/main" id="{CE0AACEA-B228-40D4-B6D0-BFC7B1A50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1561356"/>
              <a:ext cx="457200" cy="4572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3FC72C11-1C6A-4162-8AF3-091A1D61567A}"/>
              </a:ext>
            </a:extLst>
          </p:cNvPr>
          <p:cNvSpPr txBox="1"/>
          <p:nvPr/>
        </p:nvSpPr>
        <p:spPr>
          <a:xfrm>
            <a:off x="6324600" y="3754127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26C65F8-247F-4AA7-8AD5-00D9827CD64C}"/>
              </a:ext>
            </a:extLst>
          </p:cNvPr>
          <p:cNvGrpSpPr/>
          <p:nvPr/>
        </p:nvGrpSpPr>
        <p:grpSpPr>
          <a:xfrm>
            <a:off x="6781800" y="2317958"/>
            <a:ext cx="4667251" cy="479985"/>
            <a:chOff x="6781800" y="2177556"/>
            <a:chExt cx="4667251" cy="47998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FA8ABEC-A913-4A15-9D3A-C9AEE8618A12}"/>
                </a:ext>
              </a:extLst>
            </p:cNvPr>
            <p:cNvSpPr/>
            <p:nvPr/>
          </p:nvSpPr>
          <p:spPr>
            <a:xfrm>
              <a:off x="7010400" y="228314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ully transparent</a:t>
              </a:r>
            </a:p>
          </p:txBody>
        </p:sp>
        <p:pic>
          <p:nvPicPr>
            <p:cNvPr id="58" name="Graphic 57" descr="Add">
              <a:extLst>
                <a:ext uri="{FF2B5EF4-FFF2-40B4-BE49-F238E27FC236}">
                  <a16:creationId xmlns:a16="http://schemas.microsoft.com/office/drawing/2014/main" id="{D077DF5A-3867-4C04-B6A0-B9879E49C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2177556"/>
              <a:ext cx="457200" cy="4572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295EC97-BA78-40C9-B3E1-371BE5696E22}"/>
              </a:ext>
            </a:extLst>
          </p:cNvPr>
          <p:cNvGrpSpPr/>
          <p:nvPr/>
        </p:nvGrpSpPr>
        <p:grpSpPr>
          <a:xfrm>
            <a:off x="6781800" y="3015624"/>
            <a:ext cx="4661031" cy="492000"/>
            <a:chOff x="6788020" y="2778000"/>
            <a:chExt cx="4661031" cy="49200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279B55E-DC58-4A95-AA31-1A621D87BB51}"/>
                </a:ext>
              </a:extLst>
            </p:cNvPr>
            <p:cNvSpPr/>
            <p:nvPr/>
          </p:nvSpPr>
          <p:spPr>
            <a:xfrm>
              <a:off x="7010400" y="2895600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kern="1200" dirty="0"/>
                <a:t>fast verification</a:t>
              </a:r>
            </a:p>
          </p:txBody>
        </p:sp>
        <p:pic>
          <p:nvPicPr>
            <p:cNvPr id="59" name="Graphic 58" descr="Add">
              <a:extLst>
                <a:ext uri="{FF2B5EF4-FFF2-40B4-BE49-F238E27FC236}">
                  <a16:creationId xmlns:a16="http://schemas.microsoft.com/office/drawing/2014/main" id="{8FC0D5F3-6D43-4F90-9DE7-EAB98B11C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8020" y="2778000"/>
              <a:ext cx="457200" cy="4572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765F682-E0F4-40CB-A678-6E26904A6244}"/>
              </a:ext>
            </a:extLst>
          </p:cNvPr>
          <p:cNvGrpSpPr/>
          <p:nvPr/>
        </p:nvGrpSpPr>
        <p:grpSpPr>
          <a:xfrm>
            <a:off x="6820782" y="5118409"/>
            <a:ext cx="4627336" cy="374400"/>
            <a:chOff x="6821715" y="4963433"/>
            <a:chExt cx="4627336" cy="374400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CEBE8151-A99A-4B72-B469-727A4D6DE8F8}"/>
                </a:ext>
              </a:extLst>
            </p:cNvPr>
            <p:cNvSpPr/>
            <p:nvPr/>
          </p:nvSpPr>
          <p:spPr>
            <a:xfrm>
              <a:off x="7010400" y="496343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expensive proof generation</a:t>
              </a:r>
            </a:p>
          </p:txBody>
        </p:sp>
        <p:sp>
          <p:nvSpPr>
            <p:cNvPr id="67" name="Graphic 62" descr="Add">
              <a:extLst>
                <a:ext uri="{FF2B5EF4-FFF2-40B4-BE49-F238E27FC236}">
                  <a16:creationId xmlns:a16="http://schemas.microsoft.com/office/drawing/2014/main" id="{5BA47E38-2A7B-4439-9E61-96F311DA9D5C}"/>
                </a:ext>
              </a:extLst>
            </p:cNvPr>
            <p:cNvSpPr/>
            <p:nvPr/>
          </p:nvSpPr>
          <p:spPr>
            <a:xfrm>
              <a:off x="6821715" y="5061069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6BDB43-6F1B-43B8-9A2D-52FAFF931A5B}"/>
              </a:ext>
            </a:extLst>
          </p:cNvPr>
          <p:cNvGrpSpPr/>
          <p:nvPr/>
        </p:nvGrpSpPr>
        <p:grpSpPr>
          <a:xfrm>
            <a:off x="6821715" y="4401269"/>
            <a:ext cx="4629151" cy="374400"/>
            <a:chOff x="6819900" y="4350973"/>
            <a:chExt cx="4629151" cy="374400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A9326D-CCF2-4FEF-9BD1-505CB0B1B188}"/>
                </a:ext>
              </a:extLst>
            </p:cNvPr>
            <p:cNvSpPr/>
            <p:nvPr/>
          </p:nvSpPr>
          <p:spPr>
            <a:xfrm>
              <a:off x="7010400" y="435097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limited execution environment</a:t>
              </a:r>
            </a:p>
          </p:txBody>
        </p:sp>
        <p:sp>
          <p:nvSpPr>
            <p:cNvPr id="68" name="Graphic 62" descr="Add">
              <a:extLst>
                <a:ext uri="{FF2B5EF4-FFF2-40B4-BE49-F238E27FC236}">
                  <a16:creationId xmlns:a16="http://schemas.microsoft.com/office/drawing/2014/main" id="{A04CDF75-5A53-417D-8DC4-1185A02AEDE5}"/>
                </a:ext>
              </a:extLst>
            </p:cNvPr>
            <p:cNvSpPr/>
            <p:nvPr/>
          </p:nvSpPr>
          <p:spPr>
            <a:xfrm>
              <a:off x="6819900" y="4451496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5C729B4A-67E1-40FE-8C3A-C0FB32A7C2B7}"/>
              </a:ext>
            </a:extLst>
          </p:cNvPr>
          <p:cNvSpPr/>
          <p:nvPr/>
        </p:nvSpPr>
        <p:spPr>
          <a:xfrm>
            <a:off x="332902" y="5337833"/>
            <a:ext cx="2031601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0 w 2056495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365760" bIns="16002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receive program </a:t>
            </a:r>
            <a:r>
              <a:rPr lang="en-US" sz="1200" i="1" dirty="0"/>
              <a:t>f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sz="1200" dirty="0"/>
              <a:t>and input </a:t>
            </a:r>
            <a:r>
              <a:rPr lang="en-US" sz="1200" i="1" dirty="0"/>
              <a:t>x</a:t>
            </a: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E118AB2B-956A-4F79-8969-A68F94F79B2D}"/>
              </a:ext>
            </a:extLst>
          </p:cNvPr>
          <p:cNvSpPr/>
          <p:nvPr/>
        </p:nvSpPr>
        <p:spPr>
          <a:xfrm>
            <a:off x="2162405" y="5337833"/>
            <a:ext cx="2020990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411299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60" tIns="16002" rIns="274320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calculate </a:t>
            </a:r>
            <a:r>
              <a:rPr lang="en-US" sz="1200" i="1" dirty="0"/>
              <a:t>y = f(x) </a:t>
            </a:r>
            <a:br>
              <a:rPr lang="en-US" sz="1200" dirty="0"/>
            </a:br>
            <a:r>
              <a:rPr lang="en-US" sz="1200" dirty="0"/>
              <a:t>and generate proof</a:t>
            </a: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FAE99589-45B4-4AD7-AF07-8248D88C3534}"/>
              </a:ext>
            </a:extLst>
          </p:cNvPr>
          <p:cNvSpPr/>
          <p:nvPr/>
        </p:nvSpPr>
        <p:spPr>
          <a:xfrm>
            <a:off x="3981296" y="5337833"/>
            <a:ext cx="2011573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4112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2969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0461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12373 w 1645196"/>
              <a:gd name="connsiteY4" fmla="*/ 411299 h 822598"/>
              <a:gd name="connsiteX5" fmla="*/ 0 w 1645196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5196" h="822598">
                <a:moveTo>
                  <a:pt x="0" y="0"/>
                </a:moveTo>
                <a:lnTo>
                  <a:pt x="1645196" y="0"/>
                </a:lnTo>
                <a:lnTo>
                  <a:pt x="1645196" y="822598"/>
                </a:lnTo>
                <a:lnTo>
                  <a:pt x="0" y="822598"/>
                </a:lnTo>
                <a:lnTo>
                  <a:pt x="312373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274320" bIns="16002" numCol="1" spcCol="1270" anchor="ctr" anchorCtr="0">
            <a:noAutofit/>
          </a:bodyPr>
          <a:lstStyle/>
          <a:p>
            <a:pPr lvl="0" algn="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receive y </a:t>
            </a:r>
            <a:br>
              <a:rPr lang="en-US" sz="1200" dirty="0"/>
            </a:br>
            <a:r>
              <a:rPr lang="en-US" sz="1200" dirty="0"/>
              <a:t>and verify proof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3F72864-3A57-412B-88B8-4E3581D18874}"/>
              </a:ext>
            </a:extLst>
          </p:cNvPr>
          <p:cNvGrpSpPr/>
          <p:nvPr/>
        </p:nvGrpSpPr>
        <p:grpSpPr>
          <a:xfrm>
            <a:off x="6820782" y="5795627"/>
            <a:ext cx="4622049" cy="374400"/>
            <a:chOff x="6827002" y="5575892"/>
            <a:chExt cx="4622049" cy="374400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33364C3-7B3F-463D-85F3-077877D658AD}"/>
                </a:ext>
              </a:extLst>
            </p:cNvPr>
            <p:cNvSpPr/>
            <p:nvPr/>
          </p:nvSpPr>
          <p:spPr>
            <a:xfrm>
              <a:off x="7010400" y="5575892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requires trusted setup</a:t>
              </a:r>
            </a:p>
          </p:txBody>
        </p:sp>
        <p:sp>
          <p:nvSpPr>
            <p:cNvPr id="45" name="Graphic 62" descr="Add">
              <a:extLst>
                <a:ext uri="{FF2B5EF4-FFF2-40B4-BE49-F238E27FC236}">
                  <a16:creationId xmlns:a16="http://schemas.microsoft.com/office/drawing/2014/main" id="{8654E7AA-27DC-4056-9BF8-62ECDCD88368}"/>
                </a:ext>
              </a:extLst>
            </p:cNvPr>
            <p:cNvSpPr/>
            <p:nvPr/>
          </p:nvSpPr>
          <p:spPr>
            <a:xfrm>
              <a:off x="6827002" y="5670642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889708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9" grpId="0"/>
      <p:bldP spid="91" grpId="0" animBg="1"/>
      <p:bldP spid="92" grpId="0" animBg="1"/>
      <p:bldP spid="9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>
            <a:extLst>
              <a:ext uri="{FF2B5EF4-FFF2-40B4-BE49-F238E27FC236}">
                <a16:creationId xmlns:a16="http://schemas.microsoft.com/office/drawing/2014/main" id="{D8ACAFFB-B040-427E-A7CB-4481E86951AA}"/>
              </a:ext>
            </a:extLst>
          </p:cNvPr>
          <p:cNvGrpSpPr/>
          <p:nvPr/>
        </p:nvGrpSpPr>
        <p:grpSpPr>
          <a:xfrm>
            <a:off x="332902" y="976854"/>
            <a:ext cx="11524667" cy="5404897"/>
            <a:chOff x="332902" y="976854"/>
            <a:chExt cx="11524667" cy="5404897"/>
          </a:xfrm>
        </p:grpSpPr>
        <p:sp>
          <p:nvSpPr>
            <p:cNvPr id="85" name="Content Placeholder 3">
              <a:extLst>
                <a:ext uri="{FF2B5EF4-FFF2-40B4-BE49-F238E27FC236}">
                  <a16:creationId xmlns:a16="http://schemas.microsoft.com/office/drawing/2014/main" id="{A39E8967-C325-4486-9E89-E214A4BD5F3D}"/>
                </a:ext>
              </a:extLst>
            </p:cNvPr>
            <p:cNvSpPr txBox="1">
              <a:spLocks/>
            </p:cNvSpPr>
            <p:nvPr/>
          </p:nvSpPr>
          <p:spPr>
            <a:xfrm>
              <a:off x="33443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84" name="Content Placeholder 3">
              <a:extLst>
                <a:ext uri="{FF2B5EF4-FFF2-40B4-BE49-F238E27FC236}">
                  <a16:creationId xmlns:a16="http://schemas.microsoft.com/office/drawing/2014/main" id="{E77F2CCC-0767-40D3-8638-E87CC0ECDA95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4DD0E6-D8EA-484C-A7D7-4220AC71EB7E}"/>
                </a:ext>
              </a:extLst>
            </p:cNvPr>
            <p:cNvSpPr/>
            <p:nvPr/>
          </p:nvSpPr>
          <p:spPr bwMode="auto">
            <a:xfrm>
              <a:off x="332903" y="4242816"/>
              <a:ext cx="5659967" cy="8736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61F42C7-052D-4736-956D-C1B849C1983B}"/>
                </a:ext>
              </a:extLst>
            </p:cNvPr>
            <p:cNvSpPr/>
            <p:nvPr/>
          </p:nvSpPr>
          <p:spPr bwMode="auto">
            <a:xfrm>
              <a:off x="332902" y="976854"/>
              <a:ext cx="5659967" cy="537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106F00F-8140-42FA-AA38-4A753D1805E2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65823AD-D2AB-499A-91F3-5463A463DB1E}"/>
                </a:ext>
              </a:extLst>
            </p:cNvPr>
            <p:cNvSpPr/>
            <p:nvPr/>
          </p:nvSpPr>
          <p:spPr bwMode="auto">
            <a:xfrm>
              <a:off x="6199951" y="3685537"/>
              <a:ext cx="5655264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8941E3-1D4C-4341-8202-8F6C6A4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81213"/>
            <a:ext cx="10586099" cy="360535"/>
          </a:xfrm>
        </p:spPr>
        <p:txBody>
          <a:bodyPr/>
          <a:lstStyle/>
          <a:p>
            <a:r>
              <a:rPr lang="en-US" dirty="0"/>
              <a:t>Zero-Knowledge Proof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57755-3D2E-4554-ACEF-D54F6F2E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6372697" cy="288925"/>
          </a:xfrm>
        </p:spPr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320C9C-5361-4853-8036-5EDF9F6800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441426"/>
            <a:ext cx="10586102" cy="395287"/>
          </a:xfrm>
        </p:spPr>
        <p:txBody>
          <a:bodyPr/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baseline="0" dirty="0"/>
              <a:t>Transparent </a:t>
            </a:r>
            <a:r>
              <a:rPr lang="en-US" sz="2000" kern="1200" baseline="0" dirty="0" err="1"/>
              <a:t>zkSNARKs</a:t>
            </a:r>
            <a:endParaRPr lang="en-US" sz="2000" kern="1200" dirty="0"/>
          </a:p>
        </p:txBody>
      </p:sp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762DF801-F5CA-4A71-8942-BFC68C7AB16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5598" y="2272444"/>
            <a:ext cx="5374572" cy="120038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6C62C09-FDCE-4F89-A248-C82F1F05BBDE}"/>
              </a:ext>
            </a:extLst>
          </p:cNvPr>
          <p:cNvSpPr txBox="1"/>
          <p:nvPr/>
        </p:nvSpPr>
        <p:spPr>
          <a:xfrm>
            <a:off x="512015" y="4242816"/>
            <a:ext cx="519427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eneralized Preprocessing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zkSNAR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Workflow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en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ass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E., Chiesa, A.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rom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E., &amp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Virz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M. (2013)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uccinct Non-Interactive Arguments for a von Neumann Architecture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USENIX Security, 1–35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ttp://dblp.uni-trier.de/db/conf/uss/uss2014.html#Ben-SassonCTV1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DCBC22-964C-466A-AA50-53943139CC74}"/>
              </a:ext>
            </a:extLst>
          </p:cNvPr>
          <p:cNvSpPr txBox="1"/>
          <p:nvPr/>
        </p:nvSpPr>
        <p:spPr>
          <a:xfrm>
            <a:off x="370894" y="1055634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ces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6" name="Date Placeholder 75">
            <a:extLst>
              <a:ext uri="{FF2B5EF4-FFF2-40B4-BE49-F238E27FC236}">
                <a16:creationId xmlns:a16="http://schemas.microsoft.com/office/drawing/2014/main" id="{1C382FD9-5648-4B2C-BC9A-A0662C0C8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7" name="Slide Number Placeholder 76">
            <a:extLst>
              <a:ext uri="{FF2B5EF4-FFF2-40B4-BE49-F238E27FC236}">
                <a16:creationId xmlns:a16="http://schemas.microsoft.com/office/drawing/2014/main" id="{5E936AF9-EAE2-4D02-BD61-427F3E4C7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C99056-BC90-4FA5-B356-5480FF8F5E47}"/>
              </a:ext>
            </a:extLst>
          </p:cNvPr>
          <p:cNvSpPr txBox="1"/>
          <p:nvPr/>
        </p:nvSpPr>
        <p:spPr>
          <a:xfrm>
            <a:off x="6324600" y="1056325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BF99A6B-CC3F-455B-9108-F0E078AE15C2}"/>
              </a:ext>
            </a:extLst>
          </p:cNvPr>
          <p:cNvGrpSpPr/>
          <p:nvPr/>
        </p:nvGrpSpPr>
        <p:grpSpPr>
          <a:xfrm>
            <a:off x="6781800" y="1589649"/>
            <a:ext cx="4667251" cy="483725"/>
            <a:chOff x="6781800" y="1561356"/>
            <a:chExt cx="4667251" cy="483725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3AE239D-B658-4F4D-95CF-5E5948CE7C91}"/>
                </a:ext>
              </a:extLst>
            </p:cNvPr>
            <p:cNvSpPr/>
            <p:nvPr/>
          </p:nvSpPr>
          <p:spPr>
            <a:xfrm>
              <a:off x="7010400" y="167068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no trusted setup</a:t>
              </a:r>
            </a:p>
          </p:txBody>
        </p:sp>
        <p:pic>
          <p:nvPicPr>
            <p:cNvPr id="57" name="Graphic 56" descr="Add">
              <a:extLst>
                <a:ext uri="{FF2B5EF4-FFF2-40B4-BE49-F238E27FC236}">
                  <a16:creationId xmlns:a16="http://schemas.microsoft.com/office/drawing/2014/main" id="{CE0AACEA-B228-40D4-B6D0-BFC7B1A50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1561356"/>
              <a:ext cx="457200" cy="4572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3FC72C11-1C6A-4162-8AF3-091A1D61567A}"/>
              </a:ext>
            </a:extLst>
          </p:cNvPr>
          <p:cNvSpPr txBox="1"/>
          <p:nvPr/>
        </p:nvSpPr>
        <p:spPr>
          <a:xfrm>
            <a:off x="6324600" y="3754127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26C65F8-247F-4AA7-8AD5-00D9827CD64C}"/>
              </a:ext>
            </a:extLst>
          </p:cNvPr>
          <p:cNvGrpSpPr/>
          <p:nvPr/>
        </p:nvGrpSpPr>
        <p:grpSpPr>
          <a:xfrm>
            <a:off x="6781800" y="2317958"/>
            <a:ext cx="4667251" cy="479985"/>
            <a:chOff x="6781800" y="2177556"/>
            <a:chExt cx="4667251" cy="47998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FA8ABEC-A913-4A15-9D3A-C9AEE8618A12}"/>
                </a:ext>
              </a:extLst>
            </p:cNvPr>
            <p:cNvSpPr/>
            <p:nvPr/>
          </p:nvSpPr>
          <p:spPr>
            <a:xfrm>
              <a:off x="7010400" y="228314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same security as preprocessing variant</a:t>
              </a:r>
            </a:p>
          </p:txBody>
        </p:sp>
        <p:pic>
          <p:nvPicPr>
            <p:cNvPr id="58" name="Graphic 57" descr="Add">
              <a:extLst>
                <a:ext uri="{FF2B5EF4-FFF2-40B4-BE49-F238E27FC236}">
                  <a16:creationId xmlns:a16="http://schemas.microsoft.com/office/drawing/2014/main" id="{D077DF5A-3867-4C04-B6A0-B9879E49C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1800" y="2177556"/>
              <a:ext cx="457200" cy="4572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295EC97-BA78-40C9-B3E1-371BE5696E22}"/>
              </a:ext>
            </a:extLst>
          </p:cNvPr>
          <p:cNvGrpSpPr/>
          <p:nvPr/>
        </p:nvGrpSpPr>
        <p:grpSpPr>
          <a:xfrm>
            <a:off x="6781800" y="3015624"/>
            <a:ext cx="4661031" cy="492000"/>
            <a:chOff x="6788020" y="2778000"/>
            <a:chExt cx="4661031" cy="49200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279B55E-DC58-4A95-AA31-1A621D87BB51}"/>
                </a:ext>
              </a:extLst>
            </p:cNvPr>
            <p:cNvSpPr/>
            <p:nvPr/>
          </p:nvSpPr>
          <p:spPr>
            <a:xfrm>
              <a:off x="7010400" y="2895600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similar verification speeds</a:t>
              </a:r>
            </a:p>
          </p:txBody>
        </p:sp>
        <p:pic>
          <p:nvPicPr>
            <p:cNvPr id="59" name="Graphic 58" descr="Add">
              <a:extLst>
                <a:ext uri="{FF2B5EF4-FFF2-40B4-BE49-F238E27FC236}">
                  <a16:creationId xmlns:a16="http://schemas.microsoft.com/office/drawing/2014/main" id="{8FC0D5F3-6D43-4F90-9DE7-EAB98B11C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88020" y="2778000"/>
              <a:ext cx="457200" cy="4572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765F682-E0F4-40CB-A678-6E26904A6244}"/>
              </a:ext>
            </a:extLst>
          </p:cNvPr>
          <p:cNvGrpSpPr/>
          <p:nvPr/>
        </p:nvGrpSpPr>
        <p:grpSpPr>
          <a:xfrm>
            <a:off x="6820782" y="5118409"/>
            <a:ext cx="4627336" cy="374400"/>
            <a:chOff x="6821715" y="4963433"/>
            <a:chExt cx="4627336" cy="374400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CEBE8151-A99A-4B72-B469-727A4D6DE8F8}"/>
                </a:ext>
              </a:extLst>
            </p:cNvPr>
            <p:cNvSpPr/>
            <p:nvPr/>
          </p:nvSpPr>
          <p:spPr>
            <a:xfrm>
              <a:off x="7010400" y="496343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kern="1200" dirty="0"/>
                <a:t>proof generation even more expensive</a:t>
              </a:r>
            </a:p>
          </p:txBody>
        </p:sp>
        <p:sp>
          <p:nvSpPr>
            <p:cNvPr id="67" name="Graphic 62" descr="Add">
              <a:extLst>
                <a:ext uri="{FF2B5EF4-FFF2-40B4-BE49-F238E27FC236}">
                  <a16:creationId xmlns:a16="http://schemas.microsoft.com/office/drawing/2014/main" id="{5BA47E38-2A7B-4439-9E61-96F311DA9D5C}"/>
                </a:ext>
              </a:extLst>
            </p:cNvPr>
            <p:cNvSpPr/>
            <p:nvPr/>
          </p:nvSpPr>
          <p:spPr>
            <a:xfrm>
              <a:off x="6821715" y="5061069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6BDB43-6F1B-43B8-9A2D-52FAFF931A5B}"/>
              </a:ext>
            </a:extLst>
          </p:cNvPr>
          <p:cNvGrpSpPr/>
          <p:nvPr/>
        </p:nvGrpSpPr>
        <p:grpSpPr>
          <a:xfrm>
            <a:off x="6821715" y="4401269"/>
            <a:ext cx="4629151" cy="374400"/>
            <a:chOff x="6819900" y="4350973"/>
            <a:chExt cx="4629151" cy="374400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A9326D-CCF2-4FEF-9BD1-505CB0B1B188}"/>
                </a:ext>
              </a:extLst>
            </p:cNvPr>
            <p:cNvSpPr/>
            <p:nvPr/>
          </p:nvSpPr>
          <p:spPr>
            <a:xfrm>
              <a:off x="7010400" y="435097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kern="1200" dirty="0"/>
                <a:t>immature technology</a:t>
              </a:r>
            </a:p>
          </p:txBody>
        </p:sp>
        <p:sp>
          <p:nvSpPr>
            <p:cNvPr id="68" name="Graphic 62" descr="Add">
              <a:extLst>
                <a:ext uri="{FF2B5EF4-FFF2-40B4-BE49-F238E27FC236}">
                  <a16:creationId xmlns:a16="http://schemas.microsoft.com/office/drawing/2014/main" id="{A04CDF75-5A53-417D-8DC4-1185A02AEDE5}"/>
                </a:ext>
              </a:extLst>
            </p:cNvPr>
            <p:cNvSpPr/>
            <p:nvPr/>
          </p:nvSpPr>
          <p:spPr>
            <a:xfrm>
              <a:off x="6819900" y="4451496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5C729B4A-67E1-40FE-8C3A-C0FB32A7C2B7}"/>
              </a:ext>
            </a:extLst>
          </p:cNvPr>
          <p:cNvSpPr/>
          <p:nvPr/>
        </p:nvSpPr>
        <p:spPr>
          <a:xfrm>
            <a:off x="332902" y="5337833"/>
            <a:ext cx="2031601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0 w 2056495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365760" bIns="16002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receive program </a:t>
            </a:r>
            <a:r>
              <a:rPr lang="en-US" sz="1200" i="1" dirty="0"/>
              <a:t>f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sz="1200" dirty="0"/>
              <a:t>and input </a:t>
            </a:r>
            <a:r>
              <a:rPr lang="en-US" sz="1200" i="1" dirty="0"/>
              <a:t>x</a:t>
            </a: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E118AB2B-956A-4F79-8969-A68F94F79B2D}"/>
              </a:ext>
            </a:extLst>
          </p:cNvPr>
          <p:cNvSpPr/>
          <p:nvPr/>
        </p:nvSpPr>
        <p:spPr>
          <a:xfrm>
            <a:off x="2162405" y="5337833"/>
            <a:ext cx="2020990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411299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60" tIns="16002" rIns="274320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calculate </a:t>
            </a:r>
            <a:r>
              <a:rPr lang="en-US" sz="1200" i="1" dirty="0"/>
              <a:t>y = f(x) </a:t>
            </a:r>
            <a:br>
              <a:rPr lang="en-US" sz="1200" dirty="0"/>
            </a:br>
            <a:r>
              <a:rPr lang="en-US" sz="1200" dirty="0"/>
              <a:t>and generate proof</a:t>
            </a: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FAE99589-45B4-4AD7-AF07-8248D88C3534}"/>
              </a:ext>
            </a:extLst>
          </p:cNvPr>
          <p:cNvSpPr/>
          <p:nvPr/>
        </p:nvSpPr>
        <p:spPr>
          <a:xfrm>
            <a:off x="3981296" y="5337833"/>
            <a:ext cx="2011573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4112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2969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0461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12373 w 1645196"/>
              <a:gd name="connsiteY4" fmla="*/ 411299 h 822598"/>
              <a:gd name="connsiteX5" fmla="*/ 0 w 1645196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5196" h="822598">
                <a:moveTo>
                  <a:pt x="0" y="0"/>
                </a:moveTo>
                <a:lnTo>
                  <a:pt x="1645196" y="0"/>
                </a:lnTo>
                <a:lnTo>
                  <a:pt x="1645196" y="822598"/>
                </a:lnTo>
                <a:lnTo>
                  <a:pt x="0" y="822598"/>
                </a:lnTo>
                <a:lnTo>
                  <a:pt x="312373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274320" bIns="16002" numCol="1" spcCol="1270" anchor="ctr" anchorCtr="0">
            <a:noAutofit/>
          </a:bodyPr>
          <a:lstStyle/>
          <a:p>
            <a:pPr lvl="0" algn="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receive y </a:t>
            </a:r>
            <a:br>
              <a:rPr lang="en-US" sz="1200" dirty="0"/>
            </a:br>
            <a:r>
              <a:rPr lang="en-US" sz="1200" dirty="0"/>
              <a:t>and verify proof</a:t>
            </a:r>
          </a:p>
        </p:txBody>
      </p:sp>
      <p:sp>
        <p:nvSpPr>
          <p:cNvPr id="37" name="Speech Bubble: Rectangle with Corners Rounded 36">
            <a:extLst>
              <a:ext uri="{FF2B5EF4-FFF2-40B4-BE49-F238E27FC236}">
                <a16:creationId xmlns:a16="http://schemas.microsoft.com/office/drawing/2014/main" id="{8AD82133-6597-4562-83BD-7FEDC100572D}"/>
              </a:ext>
            </a:extLst>
          </p:cNvPr>
          <p:cNvSpPr/>
          <p:nvPr/>
        </p:nvSpPr>
        <p:spPr bwMode="auto">
          <a:xfrm>
            <a:off x="793516" y="1361191"/>
            <a:ext cx="2315636" cy="944897"/>
          </a:xfrm>
          <a:prstGeom prst="wedgeRoundRectCallout">
            <a:avLst>
              <a:gd name="adj1" fmla="val -31880"/>
              <a:gd name="adj2" fmla="val 71810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auxiliary input can be generated without use of </a:t>
            </a:r>
            <a:br>
              <a:rPr lang="en-US" sz="1200" dirty="0">
                <a:solidFill>
                  <a:schemeClr val="bg1"/>
                </a:solidFill>
                <a:cs typeface="Arial" pitchFamily="34" charset="0"/>
              </a:rPr>
            </a:br>
            <a:r>
              <a:rPr lang="en-US" sz="1200" i="1" dirty="0">
                <a:solidFill>
                  <a:schemeClr val="bg1"/>
                </a:solidFill>
                <a:cs typeface="Arial" pitchFamily="34" charset="0"/>
              </a:rPr>
              <a:t>Common Reference String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6AD9162-BFA6-4BC4-B727-BF2370474846}"/>
              </a:ext>
            </a:extLst>
          </p:cNvPr>
          <p:cNvGrpSpPr/>
          <p:nvPr/>
        </p:nvGrpSpPr>
        <p:grpSpPr>
          <a:xfrm>
            <a:off x="6820782" y="5795627"/>
            <a:ext cx="4622049" cy="374400"/>
            <a:chOff x="6827002" y="5575892"/>
            <a:chExt cx="4622049" cy="37440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037EFB2-7DBE-4958-93C7-11EF95770133}"/>
                </a:ext>
              </a:extLst>
            </p:cNvPr>
            <p:cNvSpPr/>
            <p:nvPr/>
          </p:nvSpPr>
          <p:spPr>
            <a:xfrm>
              <a:off x="7010400" y="5575892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massive proof sizes</a:t>
              </a:r>
            </a:p>
          </p:txBody>
        </p:sp>
        <p:sp>
          <p:nvSpPr>
            <p:cNvPr id="40" name="Graphic 62" descr="Add">
              <a:extLst>
                <a:ext uri="{FF2B5EF4-FFF2-40B4-BE49-F238E27FC236}">
                  <a16:creationId xmlns:a16="http://schemas.microsoft.com/office/drawing/2014/main" id="{7B56B15C-3E1A-4853-AC27-B30594056BDF}"/>
                </a:ext>
              </a:extLst>
            </p:cNvPr>
            <p:cNvSpPr/>
            <p:nvPr/>
          </p:nvSpPr>
          <p:spPr>
            <a:xfrm>
              <a:off x="6827002" y="5670642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84439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9" grpId="0"/>
      <p:bldP spid="3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>
            <a:extLst>
              <a:ext uri="{FF2B5EF4-FFF2-40B4-BE49-F238E27FC236}">
                <a16:creationId xmlns:a16="http://schemas.microsoft.com/office/drawing/2014/main" id="{D8ACAFFB-B040-427E-A7CB-4481E86951AA}"/>
              </a:ext>
            </a:extLst>
          </p:cNvPr>
          <p:cNvGrpSpPr/>
          <p:nvPr/>
        </p:nvGrpSpPr>
        <p:grpSpPr>
          <a:xfrm>
            <a:off x="332902" y="976854"/>
            <a:ext cx="11524667" cy="5404897"/>
            <a:chOff x="332902" y="976854"/>
            <a:chExt cx="11524667" cy="5404897"/>
          </a:xfrm>
        </p:grpSpPr>
        <p:sp>
          <p:nvSpPr>
            <p:cNvPr id="85" name="Content Placeholder 3">
              <a:extLst>
                <a:ext uri="{FF2B5EF4-FFF2-40B4-BE49-F238E27FC236}">
                  <a16:creationId xmlns:a16="http://schemas.microsoft.com/office/drawing/2014/main" id="{A39E8967-C325-4486-9E89-E214A4BD5F3D}"/>
                </a:ext>
              </a:extLst>
            </p:cNvPr>
            <p:cNvSpPr txBox="1">
              <a:spLocks/>
            </p:cNvSpPr>
            <p:nvPr/>
          </p:nvSpPr>
          <p:spPr>
            <a:xfrm>
              <a:off x="33443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84" name="Content Placeholder 3">
              <a:extLst>
                <a:ext uri="{FF2B5EF4-FFF2-40B4-BE49-F238E27FC236}">
                  <a16:creationId xmlns:a16="http://schemas.microsoft.com/office/drawing/2014/main" id="{E77F2CCC-0767-40D3-8638-E87CC0ECDA95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4DD0E6-D8EA-484C-A7D7-4220AC71EB7E}"/>
                </a:ext>
              </a:extLst>
            </p:cNvPr>
            <p:cNvSpPr/>
            <p:nvPr/>
          </p:nvSpPr>
          <p:spPr bwMode="auto">
            <a:xfrm>
              <a:off x="332903" y="4242816"/>
              <a:ext cx="5659967" cy="8736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61F42C7-052D-4736-956D-C1B849C1983B}"/>
                </a:ext>
              </a:extLst>
            </p:cNvPr>
            <p:cNvSpPr/>
            <p:nvPr/>
          </p:nvSpPr>
          <p:spPr bwMode="auto">
            <a:xfrm>
              <a:off x="332902" y="976854"/>
              <a:ext cx="5659967" cy="537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106F00F-8140-42FA-AA38-4A753D1805E2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65823AD-D2AB-499A-91F3-5463A463DB1E}"/>
                </a:ext>
              </a:extLst>
            </p:cNvPr>
            <p:cNvSpPr/>
            <p:nvPr/>
          </p:nvSpPr>
          <p:spPr bwMode="auto">
            <a:xfrm>
              <a:off x="6199951" y="3685537"/>
              <a:ext cx="5655264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8941E3-1D4C-4341-8202-8F6C6A4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7" y="81213"/>
            <a:ext cx="10586099" cy="360535"/>
          </a:xfrm>
        </p:spPr>
        <p:txBody>
          <a:bodyPr/>
          <a:lstStyle/>
          <a:p>
            <a:r>
              <a:rPr lang="en-US" dirty="0"/>
              <a:t>Multi-Party Computat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57755-3D2E-4554-ACEF-D54F6F2E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3" y="6569076"/>
            <a:ext cx="6372697" cy="288925"/>
          </a:xfrm>
        </p:spPr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320C9C-5361-4853-8036-5EDF9F6800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4" y="441426"/>
            <a:ext cx="10586102" cy="395287"/>
          </a:xfrm>
        </p:spPr>
        <p:txBody>
          <a:bodyPr/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baseline="0" dirty="0"/>
              <a:t>Linear Secret-Sharing</a:t>
            </a:r>
            <a:endParaRPr lang="en-US" sz="2000" kern="1200" dirty="0"/>
          </a:p>
        </p:txBody>
      </p:sp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762DF801-F5CA-4A71-8942-BFC68C7AB16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3168" y="1613617"/>
            <a:ext cx="4799432" cy="251803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6C62C09-FDCE-4F89-A248-C82F1F05BBDE}"/>
              </a:ext>
            </a:extLst>
          </p:cNvPr>
          <p:cNvSpPr txBox="1"/>
          <p:nvPr/>
        </p:nvSpPr>
        <p:spPr>
          <a:xfrm>
            <a:off x="512015" y="4242816"/>
            <a:ext cx="519427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SS-based Platform Architecture (Enigma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Zyskin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G., Nathan, O., &amp; Pentland, A. (2015)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nigma: Decentralized Computation Platform with Guaranteed Privacy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New Solutions for Cybersecurity, 1–14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ttps://doi.org/10.7551/mitpress/11636.003.0018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DCBC22-964C-466A-AA50-53943139CC74}"/>
              </a:ext>
            </a:extLst>
          </p:cNvPr>
          <p:cNvSpPr txBox="1"/>
          <p:nvPr/>
        </p:nvSpPr>
        <p:spPr>
          <a:xfrm>
            <a:off x="370894" y="1055634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ces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6" name="Date Placeholder 75">
            <a:extLst>
              <a:ext uri="{FF2B5EF4-FFF2-40B4-BE49-F238E27FC236}">
                <a16:creationId xmlns:a16="http://schemas.microsoft.com/office/drawing/2014/main" id="{1C382FD9-5648-4B2C-BC9A-A0662C0C8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7" name="Slide Number Placeholder 76">
            <a:extLst>
              <a:ext uri="{FF2B5EF4-FFF2-40B4-BE49-F238E27FC236}">
                <a16:creationId xmlns:a16="http://schemas.microsoft.com/office/drawing/2014/main" id="{5E936AF9-EAE2-4D02-BD61-427F3E4C7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5C99056-BC90-4FA5-B356-5480FF8F5E47}"/>
              </a:ext>
            </a:extLst>
          </p:cNvPr>
          <p:cNvSpPr txBox="1"/>
          <p:nvPr/>
        </p:nvSpPr>
        <p:spPr>
          <a:xfrm>
            <a:off x="6324600" y="1056325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BF99A6B-CC3F-455B-9108-F0E078AE15C2}"/>
              </a:ext>
            </a:extLst>
          </p:cNvPr>
          <p:cNvGrpSpPr/>
          <p:nvPr/>
        </p:nvGrpSpPr>
        <p:grpSpPr>
          <a:xfrm>
            <a:off x="6781800" y="1589649"/>
            <a:ext cx="4667251" cy="483725"/>
            <a:chOff x="6781800" y="1561356"/>
            <a:chExt cx="4667251" cy="483725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3AE239D-B658-4F4D-95CF-5E5948CE7C91}"/>
                </a:ext>
              </a:extLst>
            </p:cNvPr>
            <p:cNvSpPr/>
            <p:nvPr/>
          </p:nvSpPr>
          <p:spPr>
            <a:xfrm>
              <a:off x="7010400" y="167068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cryptographically secure</a:t>
              </a:r>
            </a:p>
          </p:txBody>
        </p:sp>
        <p:pic>
          <p:nvPicPr>
            <p:cNvPr id="57" name="Graphic 56" descr="Add">
              <a:extLst>
                <a:ext uri="{FF2B5EF4-FFF2-40B4-BE49-F238E27FC236}">
                  <a16:creationId xmlns:a16="http://schemas.microsoft.com/office/drawing/2014/main" id="{CE0AACEA-B228-40D4-B6D0-BFC7B1A50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81800" y="1561356"/>
              <a:ext cx="457200" cy="4572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3FC72C11-1C6A-4162-8AF3-091A1D61567A}"/>
              </a:ext>
            </a:extLst>
          </p:cNvPr>
          <p:cNvSpPr txBox="1"/>
          <p:nvPr/>
        </p:nvSpPr>
        <p:spPr>
          <a:xfrm>
            <a:off x="6324600" y="3754127"/>
            <a:ext cx="111489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s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26C65F8-247F-4AA7-8AD5-00D9827CD64C}"/>
              </a:ext>
            </a:extLst>
          </p:cNvPr>
          <p:cNvGrpSpPr/>
          <p:nvPr/>
        </p:nvGrpSpPr>
        <p:grpSpPr>
          <a:xfrm>
            <a:off x="6781800" y="2317958"/>
            <a:ext cx="4667251" cy="479985"/>
            <a:chOff x="6781800" y="2177556"/>
            <a:chExt cx="4667251" cy="47998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FA8ABEC-A913-4A15-9D3A-C9AEE8618A12}"/>
                </a:ext>
              </a:extLst>
            </p:cNvPr>
            <p:cNvSpPr/>
            <p:nvPr/>
          </p:nvSpPr>
          <p:spPr>
            <a:xfrm>
              <a:off x="7010400" y="2283141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ully transparent</a:t>
              </a:r>
            </a:p>
          </p:txBody>
        </p:sp>
        <p:pic>
          <p:nvPicPr>
            <p:cNvPr id="58" name="Graphic 57" descr="Add">
              <a:extLst>
                <a:ext uri="{FF2B5EF4-FFF2-40B4-BE49-F238E27FC236}">
                  <a16:creationId xmlns:a16="http://schemas.microsoft.com/office/drawing/2014/main" id="{D077DF5A-3867-4C04-B6A0-B9879E49C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81800" y="2177556"/>
              <a:ext cx="457200" cy="4572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295EC97-BA78-40C9-B3E1-371BE5696E22}"/>
              </a:ext>
            </a:extLst>
          </p:cNvPr>
          <p:cNvGrpSpPr/>
          <p:nvPr/>
        </p:nvGrpSpPr>
        <p:grpSpPr>
          <a:xfrm>
            <a:off x="6781800" y="3015624"/>
            <a:ext cx="4661031" cy="492000"/>
            <a:chOff x="6788020" y="2778000"/>
            <a:chExt cx="4661031" cy="49200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279B55E-DC58-4A95-AA31-1A621D87BB51}"/>
                </a:ext>
              </a:extLst>
            </p:cNvPr>
            <p:cNvSpPr/>
            <p:nvPr/>
          </p:nvSpPr>
          <p:spPr>
            <a:xfrm>
              <a:off x="7010400" y="2895600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600" kern="1200" dirty="0"/>
                <a:t>fully trustless</a:t>
              </a:r>
            </a:p>
          </p:txBody>
        </p:sp>
        <p:pic>
          <p:nvPicPr>
            <p:cNvPr id="59" name="Graphic 58" descr="Add">
              <a:extLst>
                <a:ext uri="{FF2B5EF4-FFF2-40B4-BE49-F238E27FC236}">
                  <a16:creationId xmlns:a16="http://schemas.microsoft.com/office/drawing/2014/main" id="{8FC0D5F3-6D43-4F90-9DE7-EAB98B11C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88020" y="2778000"/>
              <a:ext cx="457200" cy="4572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765F682-E0F4-40CB-A678-6E26904A6244}"/>
              </a:ext>
            </a:extLst>
          </p:cNvPr>
          <p:cNvGrpSpPr/>
          <p:nvPr/>
        </p:nvGrpSpPr>
        <p:grpSpPr>
          <a:xfrm>
            <a:off x="6820782" y="5118409"/>
            <a:ext cx="4627336" cy="374400"/>
            <a:chOff x="6821715" y="4963433"/>
            <a:chExt cx="4627336" cy="374400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CEBE8151-A99A-4B72-B469-727A4D6DE8F8}"/>
                </a:ext>
              </a:extLst>
            </p:cNvPr>
            <p:cNvSpPr/>
            <p:nvPr/>
          </p:nvSpPr>
          <p:spPr>
            <a:xfrm>
              <a:off x="7010400" y="496343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limited execution environment</a:t>
              </a:r>
            </a:p>
          </p:txBody>
        </p:sp>
        <p:sp>
          <p:nvSpPr>
            <p:cNvPr id="67" name="Graphic 62" descr="Add">
              <a:extLst>
                <a:ext uri="{FF2B5EF4-FFF2-40B4-BE49-F238E27FC236}">
                  <a16:creationId xmlns:a16="http://schemas.microsoft.com/office/drawing/2014/main" id="{5BA47E38-2A7B-4439-9E61-96F311DA9D5C}"/>
                </a:ext>
              </a:extLst>
            </p:cNvPr>
            <p:cNvSpPr/>
            <p:nvPr/>
          </p:nvSpPr>
          <p:spPr>
            <a:xfrm>
              <a:off x="6821715" y="5061069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6BDB43-6F1B-43B8-9A2D-52FAFF931A5B}"/>
              </a:ext>
            </a:extLst>
          </p:cNvPr>
          <p:cNvGrpSpPr/>
          <p:nvPr/>
        </p:nvGrpSpPr>
        <p:grpSpPr>
          <a:xfrm>
            <a:off x="6821715" y="4401269"/>
            <a:ext cx="4629151" cy="374400"/>
            <a:chOff x="6819900" y="4350973"/>
            <a:chExt cx="4629151" cy="374400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A9326D-CCF2-4FEF-9BD1-505CB0B1B188}"/>
                </a:ext>
              </a:extLst>
            </p:cNvPr>
            <p:cNvSpPr/>
            <p:nvPr/>
          </p:nvSpPr>
          <p:spPr>
            <a:xfrm>
              <a:off x="7010400" y="4350973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immature technology</a:t>
              </a:r>
            </a:p>
          </p:txBody>
        </p:sp>
        <p:sp>
          <p:nvSpPr>
            <p:cNvPr id="68" name="Graphic 62" descr="Add">
              <a:extLst>
                <a:ext uri="{FF2B5EF4-FFF2-40B4-BE49-F238E27FC236}">
                  <a16:creationId xmlns:a16="http://schemas.microsoft.com/office/drawing/2014/main" id="{A04CDF75-5A53-417D-8DC4-1185A02AEDE5}"/>
                </a:ext>
              </a:extLst>
            </p:cNvPr>
            <p:cNvSpPr/>
            <p:nvPr/>
          </p:nvSpPr>
          <p:spPr>
            <a:xfrm>
              <a:off x="6819900" y="4451496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80676A-21F4-43E4-8BCF-553820240A0E}"/>
              </a:ext>
            </a:extLst>
          </p:cNvPr>
          <p:cNvGrpSpPr/>
          <p:nvPr/>
        </p:nvGrpSpPr>
        <p:grpSpPr>
          <a:xfrm>
            <a:off x="6820782" y="5795627"/>
            <a:ext cx="4622049" cy="374400"/>
            <a:chOff x="6827002" y="5575892"/>
            <a:chExt cx="4622049" cy="374400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6E6E43C-4408-4014-BC15-B4F9E71A3CD6}"/>
                </a:ext>
              </a:extLst>
            </p:cNvPr>
            <p:cNvSpPr/>
            <p:nvPr/>
          </p:nvSpPr>
          <p:spPr>
            <a:xfrm>
              <a:off x="7010400" y="5575892"/>
              <a:ext cx="4438651" cy="374400"/>
            </a:xfrm>
            <a:custGeom>
              <a:avLst/>
              <a:gdLst>
                <a:gd name="connsiteX0" fmla="*/ 0 w 4438651"/>
                <a:gd name="connsiteY0" fmla="*/ 62401 h 374400"/>
                <a:gd name="connsiteX1" fmla="*/ 62401 w 4438651"/>
                <a:gd name="connsiteY1" fmla="*/ 0 h 374400"/>
                <a:gd name="connsiteX2" fmla="*/ 4376250 w 4438651"/>
                <a:gd name="connsiteY2" fmla="*/ 0 h 374400"/>
                <a:gd name="connsiteX3" fmla="*/ 4438651 w 4438651"/>
                <a:gd name="connsiteY3" fmla="*/ 62401 h 374400"/>
                <a:gd name="connsiteX4" fmla="*/ 4438651 w 4438651"/>
                <a:gd name="connsiteY4" fmla="*/ 311999 h 374400"/>
                <a:gd name="connsiteX5" fmla="*/ 4376250 w 4438651"/>
                <a:gd name="connsiteY5" fmla="*/ 374400 h 374400"/>
                <a:gd name="connsiteX6" fmla="*/ 62401 w 4438651"/>
                <a:gd name="connsiteY6" fmla="*/ 374400 h 374400"/>
                <a:gd name="connsiteX7" fmla="*/ 0 w 4438651"/>
                <a:gd name="connsiteY7" fmla="*/ 311999 h 374400"/>
                <a:gd name="connsiteX8" fmla="*/ 0 w 4438651"/>
                <a:gd name="connsiteY8" fmla="*/ 62401 h 37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38651" h="374400">
                  <a:moveTo>
                    <a:pt x="0" y="62401"/>
                  </a:moveTo>
                  <a:cubicBezTo>
                    <a:pt x="0" y="27938"/>
                    <a:pt x="27938" y="0"/>
                    <a:pt x="62401" y="0"/>
                  </a:cubicBezTo>
                  <a:lnTo>
                    <a:pt x="4376250" y="0"/>
                  </a:lnTo>
                  <a:cubicBezTo>
                    <a:pt x="4410713" y="0"/>
                    <a:pt x="4438651" y="27938"/>
                    <a:pt x="4438651" y="62401"/>
                  </a:cubicBezTo>
                  <a:lnTo>
                    <a:pt x="4438651" y="311999"/>
                  </a:lnTo>
                  <a:cubicBezTo>
                    <a:pt x="4438651" y="346462"/>
                    <a:pt x="4410713" y="374400"/>
                    <a:pt x="4376250" y="374400"/>
                  </a:cubicBezTo>
                  <a:lnTo>
                    <a:pt x="62401" y="374400"/>
                  </a:lnTo>
                  <a:cubicBezTo>
                    <a:pt x="27938" y="374400"/>
                    <a:pt x="0" y="346462"/>
                    <a:pt x="0" y="311999"/>
                  </a:cubicBezTo>
                  <a:lnTo>
                    <a:pt x="0" y="62401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20" tIns="79237" rIns="79237" bIns="79237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oor execution performance</a:t>
              </a:r>
            </a:p>
          </p:txBody>
        </p:sp>
        <p:sp>
          <p:nvSpPr>
            <p:cNvPr id="69" name="Graphic 62" descr="Add">
              <a:extLst>
                <a:ext uri="{FF2B5EF4-FFF2-40B4-BE49-F238E27FC236}">
                  <a16:creationId xmlns:a16="http://schemas.microsoft.com/office/drawing/2014/main" id="{6A34726C-0591-4FE9-839B-D6003BBCED9C}"/>
                </a:ext>
              </a:extLst>
            </p:cNvPr>
            <p:cNvSpPr/>
            <p:nvPr/>
          </p:nvSpPr>
          <p:spPr>
            <a:xfrm>
              <a:off x="6827002" y="5670642"/>
              <a:ext cx="381000" cy="57150"/>
            </a:xfrm>
            <a:prstGeom prst="rect">
              <a:avLst/>
            </a:prstGeom>
            <a:solidFill>
              <a:srgbClr val="6AB5F1"/>
            </a:solidFill>
            <a:ln w="19050" cap="flat">
              <a:solidFill>
                <a:srgbClr val="C4DCF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5C729B4A-67E1-40FE-8C3A-C0FB32A7C2B7}"/>
              </a:ext>
            </a:extLst>
          </p:cNvPr>
          <p:cNvSpPr/>
          <p:nvPr/>
        </p:nvSpPr>
        <p:spPr>
          <a:xfrm>
            <a:off x="332902" y="5337833"/>
            <a:ext cx="2031601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0 w 2056495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365760" bIns="16002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divide secret input </a:t>
            </a:r>
            <a:br>
              <a:rPr lang="en-US" sz="1200" dirty="0"/>
            </a:br>
            <a:r>
              <a:rPr lang="en-US" sz="1200" dirty="0"/>
              <a:t>and randomly distribute shares</a:t>
            </a:r>
            <a:endParaRPr lang="en-US" sz="1200" i="1" dirty="0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E118AB2B-956A-4F79-8969-A68F94F79B2D}"/>
              </a:ext>
            </a:extLst>
          </p:cNvPr>
          <p:cNvSpPr/>
          <p:nvPr/>
        </p:nvSpPr>
        <p:spPr>
          <a:xfrm>
            <a:off x="2162405" y="5337833"/>
            <a:ext cx="2020990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6495" h="822598">
                <a:moveTo>
                  <a:pt x="0" y="0"/>
                </a:moveTo>
                <a:lnTo>
                  <a:pt x="1645196" y="0"/>
                </a:lnTo>
                <a:lnTo>
                  <a:pt x="2056495" y="411299"/>
                </a:lnTo>
                <a:lnTo>
                  <a:pt x="1645196" y="822598"/>
                </a:lnTo>
                <a:lnTo>
                  <a:pt x="0" y="822598"/>
                </a:lnTo>
                <a:lnTo>
                  <a:pt x="411299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16002" rIns="0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execute computation locally on share</a:t>
            </a: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FAE99589-45B4-4AD7-AF07-8248D88C3534}"/>
              </a:ext>
            </a:extLst>
          </p:cNvPr>
          <p:cNvSpPr/>
          <p:nvPr/>
        </p:nvSpPr>
        <p:spPr>
          <a:xfrm>
            <a:off x="3981296" y="5337833"/>
            <a:ext cx="2011573" cy="822598"/>
          </a:xfrm>
          <a:custGeom>
            <a:avLst/>
            <a:gdLst>
              <a:gd name="connsiteX0" fmla="*/ 0 w 2056495"/>
              <a:gd name="connsiteY0" fmla="*/ 0 h 822598"/>
              <a:gd name="connsiteX1" fmla="*/ 1645196 w 2056495"/>
              <a:gd name="connsiteY1" fmla="*/ 0 h 822598"/>
              <a:gd name="connsiteX2" fmla="*/ 2056495 w 2056495"/>
              <a:gd name="connsiteY2" fmla="*/ 411299 h 822598"/>
              <a:gd name="connsiteX3" fmla="*/ 1645196 w 2056495"/>
              <a:gd name="connsiteY3" fmla="*/ 822598 h 822598"/>
              <a:gd name="connsiteX4" fmla="*/ 0 w 2056495"/>
              <a:gd name="connsiteY4" fmla="*/ 822598 h 822598"/>
              <a:gd name="connsiteX5" fmla="*/ 411299 w 2056495"/>
              <a:gd name="connsiteY5" fmla="*/ 411299 h 822598"/>
              <a:gd name="connsiteX6" fmla="*/ 0 w 2056495"/>
              <a:gd name="connsiteY6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4112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29699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04619 w 1645196"/>
              <a:gd name="connsiteY4" fmla="*/ 411299 h 822598"/>
              <a:gd name="connsiteX5" fmla="*/ 0 w 1645196"/>
              <a:gd name="connsiteY5" fmla="*/ 0 h 822598"/>
              <a:gd name="connsiteX0" fmla="*/ 0 w 1645196"/>
              <a:gd name="connsiteY0" fmla="*/ 0 h 822598"/>
              <a:gd name="connsiteX1" fmla="*/ 1645196 w 1645196"/>
              <a:gd name="connsiteY1" fmla="*/ 0 h 822598"/>
              <a:gd name="connsiteX2" fmla="*/ 1645196 w 1645196"/>
              <a:gd name="connsiteY2" fmla="*/ 822598 h 822598"/>
              <a:gd name="connsiteX3" fmla="*/ 0 w 1645196"/>
              <a:gd name="connsiteY3" fmla="*/ 822598 h 822598"/>
              <a:gd name="connsiteX4" fmla="*/ 312373 w 1645196"/>
              <a:gd name="connsiteY4" fmla="*/ 411299 h 822598"/>
              <a:gd name="connsiteX5" fmla="*/ 0 w 1645196"/>
              <a:gd name="connsiteY5" fmla="*/ 0 h 82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5196" h="822598">
                <a:moveTo>
                  <a:pt x="0" y="0"/>
                </a:moveTo>
                <a:lnTo>
                  <a:pt x="1645196" y="0"/>
                </a:lnTo>
                <a:lnTo>
                  <a:pt x="1645196" y="822598"/>
                </a:lnTo>
                <a:lnTo>
                  <a:pt x="0" y="822598"/>
                </a:lnTo>
                <a:lnTo>
                  <a:pt x="312373" y="41129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" tIns="16002" rIns="274320" bIns="16002" numCol="1" spcCol="1270" anchor="ctr" anchorCtr="0">
            <a:noAutofit/>
          </a:bodyPr>
          <a:lstStyle/>
          <a:p>
            <a:pPr lvl="0" algn="r" defTabSz="533400">
              <a:lnSpc>
                <a:spcPct val="90000"/>
              </a:lnSpc>
              <a:spcAft>
                <a:spcPct val="35000"/>
              </a:spcAft>
            </a:pPr>
            <a:r>
              <a:rPr lang="en-US" sz="1200" dirty="0"/>
              <a:t>reassemble shares </a:t>
            </a:r>
            <a:br>
              <a:rPr lang="en-US" sz="1200" dirty="0"/>
            </a:br>
            <a:r>
              <a:rPr lang="en-US" sz="1200" dirty="0"/>
              <a:t>to receive result</a:t>
            </a:r>
          </a:p>
        </p:txBody>
      </p:sp>
    </p:spTree>
    <p:extLst>
      <p:ext uri="{BB962C8B-B14F-4D97-AF65-F5344CB8AC3E}">
        <p14:creationId xmlns:p14="http://schemas.microsoft.com/office/powerpoint/2010/main" val="2152459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9" grpId="0"/>
      <p:bldP spid="91" grpId="0" animBg="1"/>
      <p:bldP spid="92" grpId="0" animBg="1"/>
      <p:bldP spid="9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558093-F71A-41A2-B4E3-D7C8097E1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Framework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493386-AAEB-4B62-8B60-CCF9EBF92965}"/>
              </a:ext>
            </a:extLst>
          </p:cNvPr>
          <p:cNvSpPr/>
          <p:nvPr/>
        </p:nvSpPr>
        <p:spPr>
          <a:xfrm>
            <a:off x="334434" y="981076"/>
            <a:ext cx="11523133" cy="1687710"/>
          </a:xfrm>
          <a:custGeom>
            <a:avLst/>
            <a:gdLst>
              <a:gd name="connsiteX0" fmla="*/ 0 w 11523133"/>
              <a:gd name="connsiteY0" fmla="*/ 168771 h 1687710"/>
              <a:gd name="connsiteX1" fmla="*/ 168771 w 11523133"/>
              <a:gd name="connsiteY1" fmla="*/ 0 h 1687710"/>
              <a:gd name="connsiteX2" fmla="*/ 11354362 w 11523133"/>
              <a:gd name="connsiteY2" fmla="*/ 0 h 1687710"/>
              <a:gd name="connsiteX3" fmla="*/ 11523133 w 11523133"/>
              <a:gd name="connsiteY3" fmla="*/ 168771 h 1687710"/>
              <a:gd name="connsiteX4" fmla="*/ 11523133 w 11523133"/>
              <a:gd name="connsiteY4" fmla="*/ 1518939 h 1687710"/>
              <a:gd name="connsiteX5" fmla="*/ 11354362 w 11523133"/>
              <a:gd name="connsiteY5" fmla="*/ 1687710 h 1687710"/>
              <a:gd name="connsiteX6" fmla="*/ 168771 w 11523133"/>
              <a:gd name="connsiteY6" fmla="*/ 1687710 h 1687710"/>
              <a:gd name="connsiteX7" fmla="*/ 0 w 11523133"/>
              <a:gd name="connsiteY7" fmla="*/ 1518939 h 1687710"/>
              <a:gd name="connsiteX8" fmla="*/ 0 w 11523133"/>
              <a:gd name="connsiteY8" fmla="*/ 168771 h 168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23133" h="1687710">
                <a:moveTo>
                  <a:pt x="0" y="168771"/>
                </a:moveTo>
                <a:cubicBezTo>
                  <a:pt x="0" y="75561"/>
                  <a:pt x="75561" y="0"/>
                  <a:pt x="168771" y="0"/>
                </a:cubicBezTo>
                <a:lnTo>
                  <a:pt x="11354362" y="0"/>
                </a:lnTo>
                <a:cubicBezTo>
                  <a:pt x="11447572" y="0"/>
                  <a:pt x="11523133" y="75561"/>
                  <a:pt x="11523133" y="168771"/>
                </a:cubicBezTo>
                <a:lnTo>
                  <a:pt x="11523133" y="1518939"/>
                </a:lnTo>
                <a:cubicBezTo>
                  <a:pt x="11523133" y="1612149"/>
                  <a:pt x="11447572" y="1687710"/>
                  <a:pt x="11354362" y="1687710"/>
                </a:cubicBezTo>
                <a:lnTo>
                  <a:pt x="168771" y="1687710"/>
                </a:lnTo>
                <a:cubicBezTo>
                  <a:pt x="75561" y="1687710"/>
                  <a:pt x="0" y="1612149"/>
                  <a:pt x="0" y="1518939"/>
                </a:cubicBezTo>
                <a:lnTo>
                  <a:pt x="0" y="168771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0" tIns="87630" rIns="87631" bIns="8763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i="1" kern="1200" dirty="0"/>
              <a:t>Security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Integrity: </a:t>
            </a:r>
            <a:r>
              <a:rPr lang="en-US" kern="1200" baseline="0" dirty="0">
                <a:solidFill>
                  <a:schemeClr val="bg1">
                    <a:lumMod val="85000"/>
                  </a:schemeClr>
                </a:solidFill>
              </a:rPr>
              <a:t>can correct execution of computations be guaranteed?</a:t>
            </a:r>
            <a:endParaRPr lang="en-US" kern="1200" dirty="0">
              <a:solidFill>
                <a:schemeClr val="bg1">
                  <a:lumMod val="85000"/>
                </a:schemeClr>
              </a:solidFill>
            </a:endParaRP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Transparency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is the process traceable for outside observers?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Confidentiality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is user data kept secret?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Privacy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re the identities of the users protected?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3C0AE11-2BA0-49BD-BCD2-B9A0753E545D}"/>
              </a:ext>
            </a:extLst>
          </p:cNvPr>
          <p:cNvSpPr/>
          <p:nvPr/>
        </p:nvSpPr>
        <p:spPr>
          <a:xfrm>
            <a:off x="503205" y="1149847"/>
            <a:ext cx="1477995" cy="1350168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2AD0C75-5FDD-48DA-B6B3-DF70C917975B}"/>
              </a:ext>
            </a:extLst>
          </p:cNvPr>
          <p:cNvSpPr/>
          <p:nvPr/>
        </p:nvSpPr>
        <p:spPr>
          <a:xfrm>
            <a:off x="334434" y="2837558"/>
            <a:ext cx="11523133" cy="1687710"/>
          </a:xfrm>
          <a:custGeom>
            <a:avLst/>
            <a:gdLst>
              <a:gd name="connsiteX0" fmla="*/ 0 w 11523133"/>
              <a:gd name="connsiteY0" fmla="*/ 168771 h 1687710"/>
              <a:gd name="connsiteX1" fmla="*/ 168771 w 11523133"/>
              <a:gd name="connsiteY1" fmla="*/ 0 h 1687710"/>
              <a:gd name="connsiteX2" fmla="*/ 11354362 w 11523133"/>
              <a:gd name="connsiteY2" fmla="*/ 0 h 1687710"/>
              <a:gd name="connsiteX3" fmla="*/ 11523133 w 11523133"/>
              <a:gd name="connsiteY3" fmla="*/ 168771 h 1687710"/>
              <a:gd name="connsiteX4" fmla="*/ 11523133 w 11523133"/>
              <a:gd name="connsiteY4" fmla="*/ 1518939 h 1687710"/>
              <a:gd name="connsiteX5" fmla="*/ 11354362 w 11523133"/>
              <a:gd name="connsiteY5" fmla="*/ 1687710 h 1687710"/>
              <a:gd name="connsiteX6" fmla="*/ 168771 w 11523133"/>
              <a:gd name="connsiteY6" fmla="*/ 1687710 h 1687710"/>
              <a:gd name="connsiteX7" fmla="*/ 0 w 11523133"/>
              <a:gd name="connsiteY7" fmla="*/ 1518939 h 1687710"/>
              <a:gd name="connsiteX8" fmla="*/ 0 w 11523133"/>
              <a:gd name="connsiteY8" fmla="*/ 168771 h 168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23133" h="1687710">
                <a:moveTo>
                  <a:pt x="0" y="168771"/>
                </a:moveTo>
                <a:cubicBezTo>
                  <a:pt x="0" y="75561"/>
                  <a:pt x="75561" y="0"/>
                  <a:pt x="168771" y="0"/>
                </a:cubicBezTo>
                <a:lnTo>
                  <a:pt x="11354362" y="0"/>
                </a:lnTo>
                <a:cubicBezTo>
                  <a:pt x="11447572" y="0"/>
                  <a:pt x="11523133" y="75561"/>
                  <a:pt x="11523133" y="168771"/>
                </a:cubicBezTo>
                <a:lnTo>
                  <a:pt x="11523133" y="1518939"/>
                </a:lnTo>
                <a:cubicBezTo>
                  <a:pt x="11523133" y="1612149"/>
                  <a:pt x="11447572" y="1687710"/>
                  <a:pt x="11354362" y="1687710"/>
                </a:cubicBezTo>
                <a:lnTo>
                  <a:pt x="168771" y="1687710"/>
                </a:lnTo>
                <a:cubicBezTo>
                  <a:pt x="75561" y="1687710"/>
                  <a:pt x="0" y="1612149"/>
                  <a:pt x="0" y="1518939"/>
                </a:cubicBezTo>
                <a:lnTo>
                  <a:pt x="0" y="168771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0" tIns="87630" rIns="87631" bIns="8763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i="1" kern="1200" dirty="0"/>
              <a:t>Performance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Transaction Speed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how fast can a single computation be executed?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Memory Consumption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is the limited space of blockchains a constraining factor?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7697BDC-2128-40EE-A30A-049F0C796008}"/>
              </a:ext>
            </a:extLst>
          </p:cNvPr>
          <p:cNvSpPr/>
          <p:nvPr/>
        </p:nvSpPr>
        <p:spPr>
          <a:xfrm>
            <a:off x="503205" y="3006329"/>
            <a:ext cx="1477995" cy="1350168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E468FC-4211-4733-8BCC-9E5EB53413B3}"/>
              </a:ext>
            </a:extLst>
          </p:cNvPr>
          <p:cNvSpPr/>
          <p:nvPr/>
        </p:nvSpPr>
        <p:spPr>
          <a:xfrm>
            <a:off x="334434" y="4694040"/>
            <a:ext cx="11523133" cy="1687710"/>
          </a:xfrm>
          <a:custGeom>
            <a:avLst/>
            <a:gdLst>
              <a:gd name="connsiteX0" fmla="*/ 0 w 11523133"/>
              <a:gd name="connsiteY0" fmla="*/ 168771 h 1687710"/>
              <a:gd name="connsiteX1" fmla="*/ 168771 w 11523133"/>
              <a:gd name="connsiteY1" fmla="*/ 0 h 1687710"/>
              <a:gd name="connsiteX2" fmla="*/ 11354362 w 11523133"/>
              <a:gd name="connsiteY2" fmla="*/ 0 h 1687710"/>
              <a:gd name="connsiteX3" fmla="*/ 11523133 w 11523133"/>
              <a:gd name="connsiteY3" fmla="*/ 168771 h 1687710"/>
              <a:gd name="connsiteX4" fmla="*/ 11523133 w 11523133"/>
              <a:gd name="connsiteY4" fmla="*/ 1518939 h 1687710"/>
              <a:gd name="connsiteX5" fmla="*/ 11354362 w 11523133"/>
              <a:gd name="connsiteY5" fmla="*/ 1687710 h 1687710"/>
              <a:gd name="connsiteX6" fmla="*/ 168771 w 11523133"/>
              <a:gd name="connsiteY6" fmla="*/ 1687710 h 1687710"/>
              <a:gd name="connsiteX7" fmla="*/ 0 w 11523133"/>
              <a:gd name="connsiteY7" fmla="*/ 1518939 h 1687710"/>
              <a:gd name="connsiteX8" fmla="*/ 0 w 11523133"/>
              <a:gd name="connsiteY8" fmla="*/ 168771 h 168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23133" h="1687710">
                <a:moveTo>
                  <a:pt x="0" y="168771"/>
                </a:moveTo>
                <a:cubicBezTo>
                  <a:pt x="0" y="75561"/>
                  <a:pt x="75561" y="0"/>
                  <a:pt x="168771" y="0"/>
                </a:cubicBezTo>
                <a:lnTo>
                  <a:pt x="11354362" y="0"/>
                </a:lnTo>
                <a:cubicBezTo>
                  <a:pt x="11447572" y="0"/>
                  <a:pt x="11523133" y="75561"/>
                  <a:pt x="11523133" y="168771"/>
                </a:cubicBezTo>
                <a:lnTo>
                  <a:pt x="11523133" y="1518939"/>
                </a:lnTo>
                <a:cubicBezTo>
                  <a:pt x="11523133" y="1612149"/>
                  <a:pt x="11447572" y="1687710"/>
                  <a:pt x="11354362" y="1687710"/>
                </a:cubicBezTo>
                <a:lnTo>
                  <a:pt x="168771" y="1687710"/>
                </a:lnTo>
                <a:cubicBezTo>
                  <a:pt x="75561" y="1687710"/>
                  <a:pt x="0" y="1612149"/>
                  <a:pt x="0" y="1518939"/>
                </a:cubicBezTo>
                <a:lnTo>
                  <a:pt x="0" y="168771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28800" tIns="87630" rIns="87631" bIns="8763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i="1" kern="1200" dirty="0"/>
              <a:t>Practicality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Maturity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is the technology in a practice-ready state?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Usability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how accessible is the system for users and developers?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baseline="0" dirty="0"/>
              <a:t>Extensibility: 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how easy is it to add new functionality?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508838D-871C-4297-9196-7406B272C370}"/>
              </a:ext>
            </a:extLst>
          </p:cNvPr>
          <p:cNvSpPr/>
          <p:nvPr/>
        </p:nvSpPr>
        <p:spPr>
          <a:xfrm>
            <a:off x="503205" y="4862811"/>
            <a:ext cx="1477995" cy="1350168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D80A7-14D3-4029-8043-637A9B277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pic>
        <p:nvPicPr>
          <p:cNvPr id="18" name="Graphic 17" descr="Lock">
            <a:extLst>
              <a:ext uri="{FF2B5EF4-FFF2-40B4-BE49-F238E27FC236}">
                <a16:creationId xmlns:a16="http://schemas.microsoft.com/office/drawing/2014/main" id="{5683CAB1-CC8D-410D-AFF1-C09E46E3C1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5604" y="1238333"/>
            <a:ext cx="1173196" cy="1173196"/>
          </a:xfrm>
          <a:prstGeom prst="rect">
            <a:avLst/>
          </a:prstGeom>
        </p:spPr>
      </p:pic>
      <p:pic>
        <p:nvPicPr>
          <p:cNvPr id="19" name="Graphic 18" descr="Stopwatch">
            <a:extLst>
              <a:ext uri="{FF2B5EF4-FFF2-40B4-BE49-F238E27FC236}">
                <a16:creationId xmlns:a16="http://schemas.microsoft.com/office/drawing/2014/main" id="{48FC6B83-9E19-497D-A74F-66B2A2D4D5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66490" y="3094815"/>
            <a:ext cx="1173196" cy="1173196"/>
          </a:xfrm>
          <a:prstGeom prst="rect">
            <a:avLst/>
          </a:prstGeom>
        </p:spPr>
      </p:pic>
      <p:pic>
        <p:nvPicPr>
          <p:cNvPr id="20" name="Graphic 19" descr="User">
            <a:extLst>
              <a:ext uri="{FF2B5EF4-FFF2-40B4-BE49-F238E27FC236}">
                <a16:creationId xmlns:a16="http://schemas.microsoft.com/office/drawing/2014/main" id="{BA434942-048D-4C5D-909D-B897E012D3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66490" y="4951297"/>
            <a:ext cx="1173196" cy="1173196"/>
          </a:xfrm>
          <a:prstGeom prst="rect">
            <a:avLst/>
          </a:prstGeom>
        </p:spPr>
      </p:pic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E3677A33-DC3C-41F2-B0EC-8D14C7E5C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1D0ABDD2-7F88-41E6-9A49-2F9391E96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83612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186D2A18-86A0-4943-BE8C-45C08FA0BD9B}"/>
              </a:ext>
            </a:extLst>
          </p:cNvPr>
          <p:cNvSpPr/>
          <p:nvPr/>
        </p:nvSpPr>
        <p:spPr bwMode="auto">
          <a:xfrm>
            <a:off x="332903" y="971550"/>
            <a:ext cx="11524664" cy="5276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40C7A67-5D93-4C0A-BEC3-A4A42EA21F27}"/>
              </a:ext>
            </a:extLst>
          </p:cNvPr>
          <p:cNvSpPr/>
          <p:nvPr/>
        </p:nvSpPr>
        <p:spPr bwMode="auto">
          <a:xfrm>
            <a:off x="4107876" y="2497485"/>
            <a:ext cx="5721924" cy="338896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u="sng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11BD3B-9C0F-4B41-9EAE-6094ACB5A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A2953852-C937-4B53-87D2-914CB2566C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0263317"/>
              </p:ext>
            </p:extLst>
          </p:nvPr>
        </p:nvGraphicFramePr>
        <p:xfrm>
          <a:off x="4191000" y="2590800"/>
          <a:ext cx="5562603" cy="3200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8067">
                  <a:extLst>
                    <a:ext uri="{9D8B030D-6E8A-4147-A177-3AD203B41FA5}">
                      <a16:colId xmlns:a16="http://schemas.microsoft.com/office/drawing/2014/main" val="3424177433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3262039444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452519096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1407740313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2397355601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1730581417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3842275570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546185614"/>
                    </a:ext>
                  </a:extLst>
                </a:gridCol>
                <a:gridCol w="618067">
                  <a:extLst>
                    <a:ext uri="{9D8B030D-6E8A-4147-A177-3AD203B41FA5}">
                      <a16:colId xmlns:a16="http://schemas.microsoft.com/office/drawing/2014/main" val="4201517289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454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64300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454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B7DD2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67206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B7DD2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B7DD2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B7DD2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4499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454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E2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39236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57E3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B7DD2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454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B7DD2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/>
                    </a:p>
                  </a:txBody>
                  <a:tcPr>
                    <a:solidFill>
                      <a:srgbClr val="FFA5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101179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1FB49B-EF32-4CD3-92C9-F43EAB4B7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40A7E3-DF4E-4E41-AE02-8F70E7620A6F}"/>
              </a:ext>
            </a:extLst>
          </p:cNvPr>
          <p:cNvSpPr txBox="1"/>
          <p:nvPr/>
        </p:nvSpPr>
        <p:spPr>
          <a:xfrm>
            <a:off x="685800" y="2798768"/>
            <a:ext cx="3314818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algn="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Incentive-Compatible Off-Chaining</a:t>
            </a:r>
            <a:endParaRPr lang="en-US" sz="1600" kern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55DF3A-4B7F-4839-BF69-4282ACEEC505}"/>
              </a:ext>
            </a:extLst>
          </p:cNvPr>
          <p:cNvSpPr txBox="1"/>
          <p:nvPr/>
        </p:nvSpPr>
        <p:spPr>
          <a:xfrm>
            <a:off x="856136" y="3449343"/>
            <a:ext cx="3140988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algn="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Trusted Execution Environments</a:t>
            </a:r>
            <a:endParaRPr lang="en-US" sz="1600" kern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526231C-1D85-4709-B006-CFECC46BF1BB}"/>
              </a:ext>
            </a:extLst>
          </p:cNvPr>
          <p:cNvSpPr txBox="1"/>
          <p:nvPr/>
        </p:nvSpPr>
        <p:spPr>
          <a:xfrm>
            <a:off x="1421994" y="4099918"/>
            <a:ext cx="2563522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algn="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Preprocessing </a:t>
            </a:r>
            <a:r>
              <a:rPr lang="en-US" sz="1600" kern="1200" baseline="0" dirty="0" err="1"/>
              <a:t>zkSNARKs</a:t>
            </a:r>
            <a:endParaRPr lang="en-US" sz="1600" kern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F9E4E37-AD28-4AD6-9A04-20D0A0C0E14A}"/>
              </a:ext>
            </a:extLst>
          </p:cNvPr>
          <p:cNvSpPr txBox="1"/>
          <p:nvPr/>
        </p:nvSpPr>
        <p:spPr>
          <a:xfrm>
            <a:off x="1628960" y="4750493"/>
            <a:ext cx="2352311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algn="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Transparent </a:t>
            </a:r>
            <a:r>
              <a:rPr lang="en-US" sz="1600" kern="1200" baseline="0" dirty="0" err="1"/>
              <a:t>zkSNARKs</a:t>
            </a:r>
            <a:endParaRPr lang="en-US" sz="1600" kern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AB32F9-1677-4599-80B1-8733EA9DB036}"/>
              </a:ext>
            </a:extLst>
          </p:cNvPr>
          <p:cNvSpPr txBox="1"/>
          <p:nvPr/>
        </p:nvSpPr>
        <p:spPr>
          <a:xfrm>
            <a:off x="1604585" y="5401068"/>
            <a:ext cx="2385588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algn="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Multi-Party Computation</a:t>
            </a:r>
            <a:endParaRPr lang="en-US" sz="1600" kern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18E979-CDC7-49D1-A732-266811ECC1C3}"/>
              </a:ext>
            </a:extLst>
          </p:cNvPr>
          <p:cNvSpPr txBox="1"/>
          <p:nvPr/>
        </p:nvSpPr>
        <p:spPr>
          <a:xfrm rot="18899188">
            <a:off x="4315502" y="1942278"/>
            <a:ext cx="915635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dirty="0"/>
              <a:t>Integrity</a:t>
            </a:r>
            <a:endParaRPr lang="en-US" sz="1600" kern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54CE116-AEE1-467A-8659-4C195ED2FC99}"/>
              </a:ext>
            </a:extLst>
          </p:cNvPr>
          <p:cNvSpPr txBox="1"/>
          <p:nvPr/>
        </p:nvSpPr>
        <p:spPr>
          <a:xfrm rot="18899188">
            <a:off x="5395794" y="1760173"/>
            <a:ext cx="1430584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Transparency</a:t>
            </a:r>
            <a:endParaRPr lang="en-US" sz="1600" kern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C3F784-9FC0-48B6-837D-D1471F3A2BB8}"/>
              </a:ext>
            </a:extLst>
          </p:cNvPr>
          <p:cNvSpPr txBox="1"/>
          <p:nvPr/>
        </p:nvSpPr>
        <p:spPr>
          <a:xfrm rot="18899188">
            <a:off x="4773877" y="1746137"/>
            <a:ext cx="1470274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Confidentiality</a:t>
            </a:r>
            <a:endParaRPr lang="en-US" sz="1600" kern="1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4D8D29E-C2EA-42D3-ADFF-F2D0B36184F6}"/>
              </a:ext>
            </a:extLst>
          </p:cNvPr>
          <p:cNvSpPr txBox="1"/>
          <p:nvPr/>
        </p:nvSpPr>
        <p:spPr>
          <a:xfrm rot="18899188">
            <a:off x="6707218" y="1963252"/>
            <a:ext cx="856325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Privacy</a:t>
            </a:r>
            <a:endParaRPr lang="en-US" sz="1600" kern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EA792C-0838-4903-A1B7-8C098C413901}"/>
              </a:ext>
            </a:extLst>
          </p:cNvPr>
          <p:cNvSpPr txBox="1"/>
          <p:nvPr/>
        </p:nvSpPr>
        <p:spPr>
          <a:xfrm rot="18899188">
            <a:off x="5945836" y="1595210"/>
            <a:ext cx="1897058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Transaction Speed</a:t>
            </a:r>
            <a:endParaRPr lang="en-US" sz="1600" kern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302C2A-A3F0-40F2-9CDC-246CEDBC7BF2}"/>
              </a:ext>
            </a:extLst>
          </p:cNvPr>
          <p:cNvSpPr txBox="1"/>
          <p:nvPr/>
        </p:nvSpPr>
        <p:spPr>
          <a:xfrm rot="18899188">
            <a:off x="7142872" y="1491040"/>
            <a:ext cx="2191626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Memory Consumption</a:t>
            </a:r>
            <a:endParaRPr lang="en-US" sz="1600" kern="12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822CA9-2272-4CA7-ABF3-CE0B9996905D}"/>
              </a:ext>
            </a:extLst>
          </p:cNvPr>
          <p:cNvSpPr txBox="1"/>
          <p:nvPr/>
        </p:nvSpPr>
        <p:spPr>
          <a:xfrm rot="18899188">
            <a:off x="8005447" y="1942278"/>
            <a:ext cx="915635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Maturity</a:t>
            </a:r>
            <a:endParaRPr lang="en-US" sz="1600" kern="1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6CF22C-A327-4008-87A4-56C25EB96226}"/>
              </a:ext>
            </a:extLst>
          </p:cNvPr>
          <p:cNvSpPr txBox="1"/>
          <p:nvPr/>
        </p:nvSpPr>
        <p:spPr>
          <a:xfrm rot="18899188">
            <a:off x="8534289" y="1927539"/>
            <a:ext cx="957313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Usability</a:t>
            </a:r>
            <a:endParaRPr lang="en-US" sz="1600" kern="12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5D858E5-A873-49D0-AE99-59A56B2EFD98}"/>
              </a:ext>
            </a:extLst>
          </p:cNvPr>
          <p:cNvSpPr txBox="1"/>
          <p:nvPr/>
        </p:nvSpPr>
        <p:spPr>
          <a:xfrm rot="18899188">
            <a:off x="9195740" y="1818698"/>
            <a:ext cx="1265090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Extensibility</a:t>
            </a:r>
            <a:endParaRPr lang="en-US" sz="1600" kern="1200" dirty="0"/>
          </a:p>
        </p:txBody>
      </p:sp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9B3A4617-42C9-4636-A323-4BF894AACD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69D97409-A718-45FE-9021-D0F310052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44532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D0273C32-DF06-4D30-B41A-9FD0AD6FC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D51CCADE-438F-4255-A7D2-F1711F8EC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5765135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B17F9-DF56-4CB9-B96F-65FC6A444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- Revisited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E9176F52-1DA0-4A11-B1CC-1DE3928F6B18}"/>
              </a:ext>
            </a:extLst>
          </p:cNvPr>
          <p:cNvSpPr/>
          <p:nvPr/>
        </p:nvSpPr>
        <p:spPr>
          <a:xfrm>
            <a:off x="2664112" y="955317"/>
            <a:ext cx="3429029" cy="701747"/>
          </a:xfrm>
          <a:custGeom>
            <a:avLst/>
            <a:gdLst>
              <a:gd name="connsiteX0" fmla="*/ 0 w 3429029"/>
              <a:gd name="connsiteY0" fmla="*/ 70175 h 701747"/>
              <a:gd name="connsiteX1" fmla="*/ 70175 w 3429029"/>
              <a:gd name="connsiteY1" fmla="*/ 0 h 701747"/>
              <a:gd name="connsiteX2" fmla="*/ 3358854 w 3429029"/>
              <a:gd name="connsiteY2" fmla="*/ 0 h 701747"/>
              <a:gd name="connsiteX3" fmla="*/ 3429029 w 3429029"/>
              <a:gd name="connsiteY3" fmla="*/ 70175 h 701747"/>
              <a:gd name="connsiteX4" fmla="*/ 3429029 w 3429029"/>
              <a:gd name="connsiteY4" fmla="*/ 631572 h 701747"/>
              <a:gd name="connsiteX5" fmla="*/ 3358854 w 3429029"/>
              <a:gd name="connsiteY5" fmla="*/ 701747 h 701747"/>
              <a:gd name="connsiteX6" fmla="*/ 70175 w 3429029"/>
              <a:gd name="connsiteY6" fmla="*/ 701747 h 701747"/>
              <a:gd name="connsiteX7" fmla="*/ 0 w 3429029"/>
              <a:gd name="connsiteY7" fmla="*/ 631572 h 701747"/>
              <a:gd name="connsiteX8" fmla="*/ 0 w 3429029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29029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3358854" y="0"/>
                </a:lnTo>
                <a:cubicBezTo>
                  <a:pt x="3397611" y="0"/>
                  <a:pt x="3429029" y="31418"/>
                  <a:pt x="3429029" y="70175"/>
                </a:cubicBezTo>
                <a:lnTo>
                  <a:pt x="3429029" y="631572"/>
                </a:lnTo>
                <a:cubicBezTo>
                  <a:pt x="3429029" y="670329"/>
                  <a:pt x="3397611" y="701747"/>
                  <a:pt x="3358854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8663" tIns="138663" rIns="138663" bIns="138663" numCol="1" spcCol="1270" anchor="ctr" anchorCtr="0">
            <a:noAutofit/>
          </a:bodyPr>
          <a:lstStyle/>
          <a:p>
            <a:pPr marL="0" lvl="0" indent="0" algn="ctr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/>
              <a:t>Theory</a:t>
            </a: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830B6650-369A-4242-81AA-34AFF4378BD5}"/>
              </a:ext>
            </a:extLst>
          </p:cNvPr>
          <p:cNvSpPr/>
          <p:nvPr/>
        </p:nvSpPr>
        <p:spPr>
          <a:xfrm>
            <a:off x="2667459" y="180227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Use Case Requirements</a:t>
            </a: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D7F970DE-8BE0-4C3D-9E82-6F9C0631834D}"/>
              </a:ext>
            </a:extLst>
          </p:cNvPr>
          <p:cNvSpPr/>
          <p:nvPr/>
        </p:nvSpPr>
        <p:spPr>
          <a:xfrm>
            <a:off x="2667459" y="264923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Literature Analysis – Blockchain in the Energy Industry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116F70B-44BC-4692-B51B-CBC597BED344}"/>
              </a:ext>
            </a:extLst>
          </p:cNvPr>
          <p:cNvSpPr/>
          <p:nvPr/>
        </p:nvSpPr>
        <p:spPr>
          <a:xfrm>
            <a:off x="4431069" y="180227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Technology Comparison</a:t>
            </a: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12DE96C0-40FE-4696-B44D-39A895E5C4DA}"/>
              </a:ext>
            </a:extLst>
          </p:cNvPr>
          <p:cNvSpPr/>
          <p:nvPr/>
        </p:nvSpPr>
        <p:spPr>
          <a:xfrm>
            <a:off x="4431069" y="264923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 eaLnBrk="1" latinLnBrk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Literature Analysis – Verifiable Computing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2BC2ADA2-7162-4023-945B-70D88F0A9FF0}"/>
              </a:ext>
            </a:extLst>
          </p:cNvPr>
          <p:cNvSpPr/>
          <p:nvPr/>
        </p:nvSpPr>
        <p:spPr>
          <a:xfrm>
            <a:off x="6303118" y="955317"/>
            <a:ext cx="5214325" cy="701747"/>
          </a:xfrm>
          <a:custGeom>
            <a:avLst/>
            <a:gdLst>
              <a:gd name="connsiteX0" fmla="*/ 0 w 5214325"/>
              <a:gd name="connsiteY0" fmla="*/ 70175 h 701747"/>
              <a:gd name="connsiteX1" fmla="*/ 70175 w 5214325"/>
              <a:gd name="connsiteY1" fmla="*/ 0 h 701747"/>
              <a:gd name="connsiteX2" fmla="*/ 5144150 w 5214325"/>
              <a:gd name="connsiteY2" fmla="*/ 0 h 701747"/>
              <a:gd name="connsiteX3" fmla="*/ 5214325 w 5214325"/>
              <a:gd name="connsiteY3" fmla="*/ 70175 h 701747"/>
              <a:gd name="connsiteX4" fmla="*/ 5214325 w 5214325"/>
              <a:gd name="connsiteY4" fmla="*/ 631572 h 701747"/>
              <a:gd name="connsiteX5" fmla="*/ 5144150 w 5214325"/>
              <a:gd name="connsiteY5" fmla="*/ 701747 h 701747"/>
              <a:gd name="connsiteX6" fmla="*/ 70175 w 5214325"/>
              <a:gd name="connsiteY6" fmla="*/ 701747 h 701747"/>
              <a:gd name="connsiteX7" fmla="*/ 0 w 5214325"/>
              <a:gd name="connsiteY7" fmla="*/ 631572 h 701747"/>
              <a:gd name="connsiteX8" fmla="*/ 0 w 5214325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14325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5144150" y="0"/>
                </a:lnTo>
                <a:cubicBezTo>
                  <a:pt x="5182907" y="0"/>
                  <a:pt x="5214325" y="31418"/>
                  <a:pt x="5214325" y="70175"/>
                </a:cubicBezTo>
                <a:lnTo>
                  <a:pt x="5214325" y="631572"/>
                </a:lnTo>
                <a:cubicBezTo>
                  <a:pt x="5214325" y="670329"/>
                  <a:pt x="5182907" y="701747"/>
                  <a:pt x="5144150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8663" tIns="138663" rIns="138663" bIns="138663" numCol="1" spcCol="1270" anchor="ctr" anchorCtr="0">
            <a:noAutofit/>
          </a:bodyPr>
          <a:lstStyle/>
          <a:p>
            <a:pPr marL="0" lvl="0" indent="0" algn="ctr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/>
              <a:t>Implementation</a:t>
            </a: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D06FCA71-BE93-4256-81B0-4B62B22374A0}"/>
              </a:ext>
            </a:extLst>
          </p:cNvPr>
          <p:cNvSpPr/>
          <p:nvPr/>
        </p:nvSpPr>
        <p:spPr>
          <a:xfrm>
            <a:off x="6303169" y="1802278"/>
            <a:ext cx="3858249" cy="701747"/>
          </a:xfrm>
          <a:custGeom>
            <a:avLst/>
            <a:gdLst>
              <a:gd name="connsiteX0" fmla="*/ 0 w 3858249"/>
              <a:gd name="connsiteY0" fmla="*/ 70175 h 701747"/>
              <a:gd name="connsiteX1" fmla="*/ 70175 w 3858249"/>
              <a:gd name="connsiteY1" fmla="*/ 0 h 701747"/>
              <a:gd name="connsiteX2" fmla="*/ 3788074 w 3858249"/>
              <a:gd name="connsiteY2" fmla="*/ 0 h 701747"/>
              <a:gd name="connsiteX3" fmla="*/ 3858249 w 3858249"/>
              <a:gd name="connsiteY3" fmla="*/ 70175 h 701747"/>
              <a:gd name="connsiteX4" fmla="*/ 3858249 w 3858249"/>
              <a:gd name="connsiteY4" fmla="*/ 631572 h 701747"/>
              <a:gd name="connsiteX5" fmla="*/ 3788074 w 3858249"/>
              <a:gd name="connsiteY5" fmla="*/ 701747 h 701747"/>
              <a:gd name="connsiteX6" fmla="*/ 70175 w 3858249"/>
              <a:gd name="connsiteY6" fmla="*/ 701747 h 701747"/>
              <a:gd name="connsiteX7" fmla="*/ 0 w 3858249"/>
              <a:gd name="connsiteY7" fmla="*/ 631572 h 701747"/>
              <a:gd name="connsiteX8" fmla="*/ 0 w 3858249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58249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3788074" y="0"/>
                </a:lnTo>
                <a:cubicBezTo>
                  <a:pt x="3826831" y="0"/>
                  <a:pt x="3858249" y="31418"/>
                  <a:pt x="3858249" y="70175"/>
                </a:cubicBezTo>
                <a:lnTo>
                  <a:pt x="3858249" y="631572"/>
                </a:lnTo>
                <a:cubicBezTo>
                  <a:pt x="3858249" y="670329"/>
                  <a:pt x="3826831" y="701747"/>
                  <a:pt x="3788074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Software Framework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30B96415-32D6-47B0-868C-5166ACC3FC02}"/>
              </a:ext>
            </a:extLst>
          </p:cNvPr>
          <p:cNvSpPr/>
          <p:nvPr/>
        </p:nvSpPr>
        <p:spPr>
          <a:xfrm>
            <a:off x="6303169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Use Case Model</a:t>
            </a: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421F3469-E3E5-47C7-91FA-5AA3CD0076B7}"/>
              </a:ext>
            </a:extLst>
          </p:cNvPr>
          <p:cNvSpPr/>
          <p:nvPr/>
        </p:nvSpPr>
        <p:spPr>
          <a:xfrm>
            <a:off x="7606751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Development Environment</a:t>
            </a: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93632C01-2AFC-4C1E-BD5F-C14A23345E18}"/>
              </a:ext>
            </a:extLst>
          </p:cNvPr>
          <p:cNvSpPr/>
          <p:nvPr/>
        </p:nvSpPr>
        <p:spPr>
          <a:xfrm>
            <a:off x="8910332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Algorithmic Implementation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32C5C695-A14D-4947-BDA2-22F3778576E0}"/>
              </a:ext>
            </a:extLst>
          </p:cNvPr>
          <p:cNvSpPr/>
          <p:nvPr/>
        </p:nvSpPr>
        <p:spPr>
          <a:xfrm>
            <a:off x="10266305" y="180227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Performance Evaluation</a:t>
            </a: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443666FF-CF97-43C0-8079-185B48491028}"/>
              </a:ext>
            </a:extLst>
          </p:cNvPr>
          <p:cNvSpPr/>
          <p:nvPr/>
        </p:nvSpPr>
        <p:spPr>
          <a:xfrm>
            <a:off x="10266305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Framework </a:t>
            </a:r>
            <a:br>
              <a:rPr lang="en-US" sz="1200" kern="1200" dirty="0"/>
            </a:br>
            <a:r>
              <a:rPr lang="en-US" sz="1200" kern="1200" dirty="0"/>
              <a:t>Test Run</a:t>
            </a: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CBC426AC-7E5B-4360-B597-619AAA7C3570}"/>
              </a:ext>
            </a:extLst>
          </p:cNvPr>
          <p:cNvSpPr/>
          <p:nvPr/>
        </p:nvSpPr>
        <p:spPr>
          <a:xfrm>
            <a:off x="662156" y="953537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970" tIns="140970" rIns="140970" bIns="140970" numCol="1" spcCol="1270" anchor="ctr" anchorCtr="0">
            <a:noAutofit/>
          </a:bodyPr>
          <a:lstStyle/>
          <a:p>
            <a:pPr marL="0" lvl="0" indent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700" kern="1200" dirty="0"/>
              <a:t>Goals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BC51D7D6-B012-44FA-9EBB-949854BC518C}"/>
              </a:ext>
            </a:extLst>
          </p:cNvPr>
          <p:cNvSpPr/>
          <p:nvPr/>
        </p:nvSpPr>
        <p:spPr>
          <a:xfrm>
            <a:off x="662156" y="1763031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00" tIns="114300" rIns="114300" bIns="114300" numCol="1" spcCol="1270" anchor="ctr" anchorCtr="0">
            <a:noAutofit/>
          </a:bodyPr>
          <a:lstStyle/>
          <a:p>
            <a:pPr marL="0" lvl="0" indent="0" algn="ctr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000" kern="1200" dirty="0"/>
              <a:t>Artifacts</a:t>
            </a: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81399F6B-3202-457C-A701-401AA820FDF9}"/>
              </a:ext>
            </a:extLst>
          </p:cNvPr>
          <p:cNvSpPr/>
          <p:nvPr/>
        </p:nvSpPr>
        <p:spPr>
          <a:xfrm>
            <a:off x="662156" y="2572525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00" tIns="114300" rIns="114300" bIns="114300" numCol="1" spcCol="1270" anchor="ctr" anchorCtr="0">
            <a:noAutofit/>
          </a:bodyPr>
          <a:lstStyle/>
          <a:p>
            <a:pPr marL="0" lvl="0" indent="0" algn="ctr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000" kern="1200" dirty="0"/>
              <a:t>Task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7E5CEB-BA7D-4BEC-B68E-61BEE0C3B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D0BD19-6919-43FC-B952-25494EE65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EF63FB-BFFA-4475-A197-6197B505E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A0AA17F-C211-4745-ACE4-C40B2577A820}"/>
              </a:ext>
            </a:extLst>
          </p:cNvPr>
          <p:cNvGrpSpPr/>
          <p:nvPr/>
        </p:nvGrpSpPr>
        <p:grpSpPr>
          <a:xfrm>
            <a:off x="468128" y="3706154"/>
            <a:ext cx="11055567" cy="769441"/>
            <a:chOff x="468128" y="3706154"/>
            <a:chExt cx="11055567" cy="769441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72E0EA5-A666-4280-B9A6-90BEF2915A63}"/>
                </a:ext>
              </a:extLst>
            </p:cNvPr>
            <p:cNvSpPr/>
            <p:nvPr/>
          </p:nvSpPr>
          <p:spPr>
            <a:xfrm>
              <a:off x="661373" y="3810000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What are the requirements and challenges of </a:t>
              </a:r>
              <a:br>
                <a:rPr lang="en-US" kern="1200" dirty="0"/>
              </a:br>
              <a:r>
                <a:rPr lang="en-US" kern="1200" dirty="0"/>
                <a:t>common </a:t>
              </a:r>
              <a:r>
                <a:rPr lang="en-US" kern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blockchain</a:t>
              </a:r>
              <a:r>
                <a:rPr lang="en-US" kern="1200" dirty="0"/>
                <a:t> applications in the energy industry?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447FAC7-6293-44EA-AF30-EC3C084DE172}"/>
                </a:ext>
              </a:extLst>
            </p:cNvPr>
            <p:cNvSpPr/>
            <p:nvPr/>
          </p:nvSpPr>
          <p:spPr>
            <a:xfrm>
              <a:off x="468128" y="3706154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1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CF8E6DE-51E8-4F88-970A-1033BAC25F2E}"/>
              </a:ext>
            </a:extLst>
          </p:cNvPr>
          <p:cNvGrpSpPr/>
          <p:nvPr/>
        </p:nvGrpSpPr>
        <p:grpSpPr>
          <a:xfrm>
            <a:off x="468128" y="4390218"/>
            <a:ext cx="11055567" cy="769441"/>
            <a:chOff x="468128" y="4390218"/>
            <a:chExt cx="11055567" cy="76944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11B51EB-9EAB-4DB8-A107-3F3CA2540787}"/>
                </a:ext>
              </a:extLst>
            </p:cNvPr>
            <p:cNvSpPr/>
            <p:nvPr/>
          </p:nvSpPr>
          <p:spPr>
            <a:xfrm>
              <a:off x="661373" y="4509521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marR="0" lvl="0" indent="0" defTabSz="1022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can the use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rease </a:t>
              </a:r>
              <a:b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security and reliability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energy-related blockchain applications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8B5B7FC-767E-47FC-B863-40DC304CE385}"/>
                </a:ext>
              </a:extLst>
            </p:cNvPr>
            <p:cNvSpPr/>
            <p:nvPr/>
          </p:nvSpPr>
          <p:spPr>
            <a:xfrm>
              <a:off x="468128" y="4390218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2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05F28D4-3682-4F11-B696-B9EA291CA633}"/>
              </a:ext>
            </a:extLst>
          </p:cNvPr>
          <p:cNvGrpSpPr/>
          <p:nvPr/>
        </p:nvGrpSpPr>
        <p:grpSpPr>
          <a:xfrm>
            <a:off x="468128" y="5105195"/>
            <a:ext cx="11055567" cy="769441"/>
            <a:chOff x="468128" y="5105195"/>
            <a:chExt cx="11055567" cy="769441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F1F2EE7-52B6-48DD-A842-5FFA13E57C64}"/>
                </a:ext>
              </a:extLst>
            </p:cNvPr>
            <p:cNvSpPr/>
            <p:nvPr/>
          </p:nvSpPr>
          <p:spPr>
            <a:xfrm>
              <a:off x="661373" y="5209042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How do different blockchain-based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techniques</a:t>
              </a:r>
              <a:r>
                <a:rPr lang="en-US" kern="1200" dirty="0"/>
                <a:t> compare </a:t>
              </a:r>
              <a:br>
                <a:rPr lang="en-US" kern="1200" dirty="0"/>
              </a:br>
              <a:r>
                <a:rPr lang="en-US" kern="1200" dirty="0"/>
                <a:t>in terms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performance, security and usability</a:t>
              </a:r>
              <a:r>
                <a:rPr lang="en-US" kern="1200" dirty="0"/>
                <a:t>?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EBEB66A-2EC2-45E5-A346-D69A7E64963F}"/>
                </a:ext>
              </a:extLst>
            </p:cNvPr>
            <p:cNvSpPr/>
            <p:nvPr/>
          </p:nvSpPr>
          <p:spPr>
            <a:xfrm>
              <a:off x="468128" y="5105195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3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6344693-6971-4460-AD89-CA6332DE7F68}"/>
              </a:ext>
            </a:extLst>
          </p:cNvPr>
          <p:cNvGrpSpPr/>
          <p:nvPr/>
        </p:nvGrpSpPr>
        <p:grpSpPr>
          <a:xfrm>
            <a:off x="468128" y="5799635"/>
            <a:ext cx="11057122" cy="769441"/>
            <a:chOff x="468128" y="5799635"/>
            <a:chExt cx="11057122" cy="76944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5D0DEF0-CDBF-4A00-AD1C-E7E8749FA305}"/>
                </a:ext>
              </a:extLst>
            </p:cNvPr>
            <p:cNvSpPr/>
            <p:nvPr/>
          </p:nvSpPr>
          <p:spPr>
            <a:xfrm>
              <a:off x="662928" y="5908563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0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Which measures are required to prototypically implement </a:t>
              </a:r>
              <a:br>
                <a:rPr lang="en-US" kern="1200" dirty="0"/>
              </a:br>
              <a:r>
                <a:rPr lang="en-US" kern="1200" dirty="0"/>
                <a:t>a functioning infrastructure for solving blockchain-aided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ations</a:t>
              </a:r>
              <a:r>
                <a:rPr lang="en-US" kern="1200" dirty="0"/>
                <a:t>?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04CFD43-9D7F-41D2-933E-300BD906789B}"/>
                </a:ext>
              </a:extLst>
            </p:cNvPr>
            <p:cNvSpPr/>
            <p:nvPr/>
          </p:nvSpPr>
          <p:spPr>
            <a:xfrm>
              <a:off x="468128" y="5799635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4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D3E7D0B7-1F99-445C-B516-E0DC33FCE42A}"/>
              </a:ext>
            </a:extLst>
          </p:cNvPr>
          <p:cNvSpPr/>
          <p:nvPr/>
        </p:nvSpPr>
        <p:spPr>
          <a:xfrm>
            <a:off x="3490643" y="1502449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1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56610B5-03C4-4DB2-BABB-067DEC0EAA22}"/>
              </a:ext>
            </a:extLst>
          </p:cNvPr>
          <p:cNvSpPr/>
          <p:nvPr/>
        </p:nvSpPr>
        <p:spPr>
          <a:xfrm>
            <a:off x="3891068" y="1497374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/2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B660037-68AF-465B-97ED-DAFEF6988C93}"/>
              </a:ext>
            </a:extLst>
          </p:cNvPr>
          <p:cNvSpPr/>
          <p:nvPr/>
        </p:nvSpPr>
        <p:spPr>
          <a:xfrm>
            <a:off x="5486642" y="1502449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3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78FC737-A1E6-4F76-82A7-946A6F358BDF}"/>
              </a:ext>
            </a:extLst>
          </p:cNvPr>
          <p:cNvSpPr/>
          <p:nvPr/>
        </p:nvSpPr>
        <p:spPr>
          <a:xfrm>
            <a:off x="10920536" y="698952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4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8804883-6F6B-4002-8D30-49F10DFB4D57}"/>
              </a:ext>
            </a:extLst>
          </p:cNvPr>
          <p:cNvGrpSpPr/>
          <p:nvPr/>
        </p:nvGrpSpPr>
        <p:grpSpPr>
          <a:xfrm>
            <a:off x="3306528" y="1965168"/>
            <a:ext cx="380586" cy="377362"/>
            <a:chOff x="2916578" y="74181"/>
            <a:chExt cx="894594" cy="887016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572F307-45E2-4005-B663-74FAFC541A1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0" name="Graphic 3" descr="Checkmark">
              <a:extLst>
                <a:ext uri="{FF2B5EF4-FFF2-40B4-BE49-F238E27FC236}">
                  <a16:creationId xmlns:a16="http://schemas.microsoft.com/office/drawing/2014/main" id="{68E3C887-B310-4B84-9CC0-3548756A7C3A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698AA48-1722-47FE-9463-F6A424A82239}"/>
              </a:ext>
            </a:extLst>
          </p:cNvPr>
          <p:cNvGrpSpPr/>
          <p:nvPr/>
        </p:nvGrpSpPr>
        <p:grpSpPr>
          <a:xfrm>
            <a:off x="3306528" y="2816517"/>
            <a:ext cx="380586" cy="377362"/>
            <a:chOff x="2916578" y="74181"/>
            <a:chExt cx="894594" cy="887016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E612E17C-602D-4085-8BFA-2B8398BE5503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3" name="Graphic 3" descr="Checkmark">
              <a:extLst>
                <a:ext uri="{FF2B5EF4-FFF2-40B4-BE49-F238E27FC236}">
                  <a16:creationId xmlns:a16="http://schemas.microsoft.com/office/drawing/2014/main" id="{BA241385-E23B-4E9C-AD65-44131FBB4DE8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42F7E0A-D828-4878-9367-5ACBE9D9EE8A}"/>
              </a:ext>
            </a:extLst>
          </p:cNvPr>
          <p:cNvGrpSpPr/>
          <p:nvPr/>
        </p:nvGrpSpPr>
        <p:grpSpPr>
          <a:xfrm>
            <a:off x="5068965" y="1965168"/>
            <a:ext cx="380586" cy="377362"/>
            <a:chOff x="2916578" y="74181"/>
            <a:chExt cx="894594" cy="887016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7AC26BC-1456-479F-AF9A-C491E877272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6" name="Graphic 3" descr="Checkmark">
              <a:extLst>
                <a:ext uri="{FF2B5EF4-FFF2-40B4-BE49-F238E27FC236}">
                  <a16:creationId xmlns:a16="http://schemas.microsoft.com/office/drawing/2014/main" id="{D8E18247-60E3-4210-9BBD-05DE29FE28E5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B2A7EB3-30BD-4BE0-8F01-857FA45B2860}"/>
              </a:ext>
            </a:extLst>
          </p:cNvPr>
          <p:cNvGrpSpPr/>
          <p:nvPr/>
        </p:nvGrpSpPr>
        <p:grpSpPr>
          <a:xfrm>
            <a:off x="5070138" y="2811430"/>
            <a:ext cx="380586" cy="377362"/>
            <a:chOff x="2916578" y="74181"/>
            <a:chExt cx="894594" cy="887016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582A477-80EF-49DB-99A2-8933A5758D3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0" name="Graphic 3" descr="Checkmark">
              <a:extLst>
                <a:ext uri="{FF2B5EF4-FFF2-40B4-BE49-F238E27FC236}">
                  <a16:creationId xmlns:a16="http://schemas.microsoft.com/office/drawing/2014/main" id="{0A0FA1FF-51F2-4818-9C6F-2C9B632ACEEC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48015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BC0290-ECC6-42D3-98F2-A67B32539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E3E9DB-4167-4D04-BB83-9A9DAEF1D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466392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F0D61-F8F2-4AA2-8BF0-F76DD1E8F8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oice of Use Cas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F7346-DEF6-494C-BEF6-02AF8C03F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EE5541-F51B-4D02-8901-0DC034255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BB56D6-7E56-4F32-9B56-6BE9CE3D9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F66366-48A7-4C85-A5C0-8722B4037223}"/>
              </a:ext>
            </a:extLst>
          </p:cNvPr>
          <p:cNvGrpSpPr/>
          <p:nvPr/>
        </p:nvGrpSpPr>
        <p:grpSpPr>
          <a:xfrm>
            <a:off x="333667" y="981328"/>
            <a:ext cx="11524666" cy="5478625"/>
            <a:chOff x="6197599" y="980070"/>
            <a:chExt cx="5659970" cy="5478625"/>
          </a:xfrm>
        </p:grpSpPr>
        <p:sp>
          <p:nvSpPr>
            <p:cNvPr id="39" name="Content Placeholder 3">
              <a:extLst>
                <a:ext uri="{FF2B5EF4-FFF2-40B4-BE49-F238E27FC236}">
                  <a16:creationId xmlns:a16="http://schemas.microsoft.com/office/drawing/2014/main" id="{0345D4CB-96D1-4911-88F5-406B74092EE1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59D3635-A6F8-4E56-AF3D-D23BFA9FDBFE}"/>
                </a:ext>
              </a:extLst>
            </p:cNvPr>
            <p:cNvSpPr/>
            <p:nvPr/>
          </p:nvSpPr>
          <p:spPr bwMode="auto">
            <a:xfrm>
              <a:off x="6197599" y="5319922"/>
              <a:ext cx="5659967" cy="11387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Blockchain Use Cases in the Energy Industry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Andoni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M.,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Robu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V., Flynn, D., Abram, S.,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Geach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D.,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Jenkins, D., McCallum, P., &amp; Peacock, A. (2019).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Blockchain technology in the energy sector: A systematic review of challenges and opportunities. In Renewable and Sustainable Energy Reviews (Vol. 100, pp. 143–174). https://doi.org/10.1016/j.rser.2018.10.014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1CFF941-04BA-4E11-A667-BE51E5314B5F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Why did we choose an </a:t>
              </a:r>
              <a:r>
                <a:rPr lang="de-DE" dirty="0">
                  <a:solidFill>
                    <a:schemeClr val="accent4">
                      <a:lumMod val="75000"/>
                      <a:lumOff val="25000"/>
                    </a:schemeClr>
                  </a:solidFill>
                </a:rPr>
                <a:t>optimization problem </a:t>
              </a:r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for our implementation?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FB6C9B2-1329-44FB-98C8-93AF0107A6B4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94638" y="1712865"/>
              <a:ext cx="2665888" cy="341819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7B99300-B90D-4E20-A7DE-6FFF8F77D48F}"/>
              </a:ext>
            </a:extLst>
          </p:cNvPr>
          <p:cNvGrpSpPr/>
          <p:nvPr/>
        </p:nvGrpSpPr>
        <p:grpSpPr>
          <a:xfrm>
            <a:off x="609600" y="3950491"/>
            <a:ext cx="3657600" cy="936427"/>
            <a:chOff x="609600" y="3950491"/>
            <a:chExt cx="3657600" cy="936427"/>
          </a:xfrm>
          <a:solidFill>
            <a:srgbClr val="82659E"/>
          </a:solidFill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AC87060E-6DB0-4119-9C33-077C1ADE8A59}"/>
                </a:ext>
              </a:extLst>
            </p:cNvPr>
            <p:cNvSpPr/>
            <p:nvPr/>
          </p:nvSpPr>
          <p:spPr bwMode="auto">
            <a:xfrm>
              <a:off x="609600" y="3950491"/>
              <a:ext cx="2438400" cy="936427"/>
            </a:xfrm>
            <a:prstGeom prst="round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marR="0" indent="-171450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100" u="sng" dirty="0">
                  <a:solidFill>
                    <a:schemeClr val="bg1"/>
                  </a:solidFill>
                </a:rPr>
                <a:t>Alexander </a:t>
              </a:r>
              <a:r>
                <a:rPr lang="en-US" sz="1100" u="sng" dirty="0" err="1">
                  <a:solidFill>
                    <a:schemeClr val="bg1"/>
                  </a:solidFill>
                </a:rPr>
                <a:t>Bogensperger</a:t>
              </a:r>
              <a:br>
                <a:rPr lang="en-US" sz="1100" dirty="0">
                  <a:solidFill>
                    <a:schemeClr val="bg1"/>
                  </a:solidFill>
                </a:rPr>
              </a:br>
              <a:r>
                <a:rPr lang="en-US" sz="1100" i="1" dirty="0">
                  <a:solidFill>
                    <a:schemeClr val="bg1"/>
                  </a:solidFill>
                </a:rPr>
                <a:t>Updating renewable energy certificate markets via integration of smart meter data, improved time resolution and spatial optimization</a:t>
              </a:r>
              <a:endParaRPr lang="en-US" sz="1100" i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1A28AA5D-03DE-4E7D-81A2-B116776EE5DF}"/>
                </a:ext>
              </a:extLst>
            </p:cNvPr>
            <p:cNvCxnSpPr>
              <a:cxnSpLocks/>
              <a:stCxn id="18" idx="3"/>
            </p:cNvCxnSpPr>
            <p:nvPr/>
          </p:nvCxnSpPr>
          <p:spPr bwMode="auto">
            <a:xfrm flipV="1">
              <a:off x="3048000" y="4176487"/>
              <a:ext cx="1219200" cy="242218"/>
            </a:xfrm>
            <a:prstGeom prst="bentConnector3">
              <a:avLst>
                <a:gd name="adj1" fmla="val 50000"/>
              </a:avLst>
            </a:prstGeom>
            <a:grpFill/>
            <a:ln w="15875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3D5DDB5-E890-4D15-9F94-E61CF40AC5BF}"/>
              </a:ext>
            </a:extLst>
          </p:cNvPr>
          <p:cNvGrpSpPr/>
          <p:nvPr/>
        </p:nvGrpSpPr>
        <p:grpSpPr>
          <a:xfrm>
            <a:off x="609600" y="1714187"/>
            <a:ext cx="3657600" cy="1911560"/>
            <a:chOff x="609600" y="3627000"/>
            <a:chExt cx="3657600" cy="1911560"/>
          </a:xfrm>
          <a:solidFill>
            <a:srgbClr val="9BB456"/>
          </a:solidFill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2E6F473B-D40C-4C72-BD71-3CF222EEAAE8}"/>
                </a:ext>
              </a:extLst>
            </p:cNvPr>
            <p:cNvSpPr/>
            <p:nvPr/>
          </p:nvSpPr>
          <p:spPr bwMode="auto">
            <a:xfrm>
              <a:off x="609600" y="3627000"/>
              <a:ext cx="2438400" cy="1583412"/>
            </a:xfrm>
            <a:prstGeom prst="roundRect">
              <a:avLst/>
            </a:prstGeom>
            <a:solidFill>
              <a:srgbClr val="009CC4"/>
            </a:solidFill>
            <a:ln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marR="0" indent="-171450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100" u="sng" dirty="0" err="1">
                  <a:solidFill>
                    <a:schemeClr val="bg1"/>
                  </a:solidFill>
                </a:rPr>
                <a:t>Alskaif</a:t>
              </a:r>
              <a:br>
                <a:rPr lang="en-US" sz="1100" dirty="0">
                  <a:solidFill>
                    <a:schemeClr val="bg1"/>
                  </a:solidFill>
                </a:rPr>
              </a:br>
              <a:r>
                <a:rPr lang="en-US" sz="1100" i="1" dirty="0">
                  <a:solidFill>
                    <a:schemeClr val="bg1"/>
                  </a:solidFill>
                </a:rPr>
                <a:t>Decentralized Optimal Power Flow in Distribution Networks Using Blockchain</a:t>
              </a:r>
            </a:p>
            <a:p>
              <a:pPr marL="171450" marR="0" indent="-171450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100" u="sng" dirty="0">
                  <a:solidFill>
                    <a:schemeClr val="bg1"/>
                  </a:solidFill>
                  <a:cs typeface="Arial" pitchFamily="34" charset="0"/>
                </a:rPr>
                <a:t>Eric </a:t>
              </a:r>
              <a:r>
                <a:rPr lang="en-US" sz="1100" u="sng" dirty="0" err="1">
                  <a:solidFill>
                    <a:schemeClr val="bg1"/>
                  </a:solidFill>
                  <a:cs typeface="Arial" pitchFamily="34" charset="0"/>
                </a:rPr>
                <a:t>Munsing</a:t>
              </a:r>
              <a:r>
                <a:rPr lang="en-US" sz="1100" i="1" u="sng" dirty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br>
                <a:rPr lang="en-US" sz="1100" i="1" dirty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en-US" sz="1100" i="1" dirty="0">
                  <a:solidFill>
                    <a:schemeClr val="bg1"/>
                  </a:solidFill>
                  <a:cs typeface="Arial" pitchFamily="34" charset="0"/>
                </a:rPr>
                <a:t>Blockchains for decentralized optimization of energy resources in microgrid networks</a:t>
              </a:r>
            </a:p>
          </p:txBody>
        </p: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E1711B0-5AC5-4C40-945E-296EA649A687}"/>
                </a:ext>
              </a:extLst>
            </p:cNvPr>
            <p:cNvCxnSpPr>
              <a:cxnSpLocks/>
              <a:stCxn id="56" idx="3"/>
            </p:cNvCxnSpPr>
            <p:nvPr/>
          </p:nvCxnSpPr>
          <p:spPr bwMode="auto">
            <a:xfrm>
              <a:off x="3048000" y="4418706"/>
              <a:ext cx="1219200" cy="1119854"/>
            </a:xfrm>
            <a:prstGeom prst="bentConnector3">
              <a:avLst>
                <a:gd name="adj1" fmla="val 34375"/>
              </a:avLst>
            </a:prstGeom>
            <a:grpFill/>
            <a:ln w="15875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78F5998-091E-4CEC-A30A-671012F7E6E4}"/>
              </a:ext>
            </a:extLst>
          </p:cNvPr>
          <p:cNvGrpSpPr/>
          <p:nvPr/>
        </p:nvGrpSpPr>
        <p:grpSpPr>
          <a:xfrm>
            <a:off x="5486400" y="3720641"/>
            <a:ext cx="6057562" cy="1396127"/>
            <a:chOff x="-3009562" y="3720642"/>
            <a:chExt cx="6057562" cy="1396127"/>
          </a:xfrm>
          <a:solidFill>
            <a:srgbClr val="9BB456"/>
          </a:solidFill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9F2D7665-EA54-4B36-BF2C-FE32896C80EF}"/>
                </a:ext>
              </a:extLst>
            </p:cNvPr>
            <p:cNvSpPr/>
            <p:nvPr/>
          </p:nvSpPr>
          <p:spPr bwMode="auto">
            <a:xfrm>
              <a:off x="609600" y="3720642"/>
              <a:ext cx="2438400" cy="1396127"/>
            </a:xfrm>
            <a:prstGeom prst="round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marR="0" indent="-171450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100" u="sng" dirty="0"/>
                <a:t>T. </a:t>
              </a:r>
              <a:r>
                <a:rPr lang="en-US" sz="1100" u="sng" dirty="0" err="1"/>
                <a:t>Baroche</a:t>
              </a:r>
              <a:r>
                <a:rPr lang="en-US" sz="1100" u="sng" dirty="0"/>
                <a:t> </a:t>
              </a:r>
              <a:b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1100" i="1" dirty="0"/>
                <a:t>Prosumer Markets: A Unified Formulation</a:t>
              </a:r>
            </a:p>
            <a:p>
              <a:pPr marL="171450" marR="0" indent="-171450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100" u="sng" dirty="0" err="1"/>
                <a:t>Xiaolong</a:t>
              </a:r>
              <a:r>
                <a:rPr lang="en-US" sz="1100" u="sng" dirty="0"/>
                <a:t> </a:t>
              </a:r>
              <a:r>
                <a:rPr lang="en-US" sz="1100" u="sng" dirty="0" err="1"/>
                <a:t>Jin</a:t>
              </a:r>
              <a:br>
                <a:rPr lang="en-US" sz="1100" dirty="0"/>
              </a:br>
              <a:r>
                <a:rPr lang="en-US" sz="1100" i="1" dirty="0"/>
                <a:t>Local flexibility markets: Literature review on concepts, models and clearing methods</a:t>
              </a:r>
              <a:endParaRPr lang="en-US" sz="11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endParaRPr>
            </a:p>
          </p:txBody>
        </p: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5FA83F91-12BF-45C7-913C-3E2F98BE9C3E}"/>
                </a:ext>
              </a:extLst>
            </p:cNvPr>
            <p:cNvCxnSpPr>
              <a:cxnSpLocks/>
            </p:cNvCxnSpPr>
            <p:nvPr/>
          </p:nvCxnSpPr>
          <p:spPr bwMode="auto">
            <a:xfrm rot="10800000">
              <a:off x="-3009562" y="3867967"/>
              <a:ext cx="3619162" cy="550743"/>
            </a:xfrm>
            <a:prstGeom prst="bentConnector3">
              <a:avLst>
                <a:gd name="adj1" fmla="val 10039"/>
              </a:avLst>
            </a:prstGeom>
            <a:grpFill/>
            <a:ln w="15875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7F87262-B42A-4025-88E5-44C5DE166E15}"/>
              </a:ext>
            </a:extLst>
          </p:cNvPr>
          <p:cNvGrpSpPr/>
          <p:nvPr/>
        </p:nvGrpSpPr>
        <p:grpSpPr>
          <a:xfrm>
            <a:off x="4267209" y="2131321"/>
            <a:ext cx="7272088" cy="925311"/>
            <a:chOff x="-4224088" y="4044135"/>
            <a:chExt cx="7272088" cy="925311"/>
          </a:xfrm>
        </p:grpSpPr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EF0FBA92-E49D-4411-BDBD-EEE6B9107D5C}"/>
                </a:ext>
              </a:extLst>
            </p:cNvPr>
            <p:cNvSpPr/>
            <p:nvPr/>
          </p:nvSpPr>
          <p:spPr bwMode="auto">
            <a:xfrm>
              <a:off x="609600" y="4044135"/>
              <a:ext cx="2438400" cy="749141"/>
            </a:xfrm>
            <a:prstGeom prst="roundRect">
              <a:avLst/>
            </a:prstGeom>
            <a:solidFill>
              <a:srgbClr val="FF9C43"/>
            </a:solidFill>
            <a:ln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marR="0" indent="-171450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100" u="sng" dirty="0"/>
                <a:t>Raymond H. Byrne</a:t>
              </a:r>
              <a:br>
                <a:rPr lang="en-US" sz="1100" dirty="0"/>
              </a:br>
              <a:r>
                <a:rPr lang="en-US" sz="1100" i="1" dirty="0"/>
                <a:t>Energy Management and Optimization Methods for Grid Energy Storage Systems</a:t>
              </a:r>
              <a:endParaRPr lang="en-US" sz="11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endParaRPr>
            </a:p>
          </p:txBody>
        </p: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52304847-2001-4160-B9FB-08EB743FF4F2}"/>
                </a:ext>
              </a:extLst>
            </p:cNvPr>
            <p:cNvCxnSpPr>
              <a:cxnSpLocks/>
              <a:stCxn id="69" idx="1"/>
            </p:cNvCxnSpPr>
            <p:nvPr/>
          </p:nvCxnSpPr>
          <p:spPr bwMode="auto">
            <a:xfrm rot="10800000" flipV="1">
              <a:off x="-4224088" y="4418706"/>
              <a:ext cx="4833689" cy="550740"/>
            </a:xfrm>
            <a:prstGeom prst="bentConnector3">
              <a:avLst>
                <a:gd name="adj1" fmla="val 10589"/>
              </a:avLst>
            </a:prstGeom>
            <a:ln w="15875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oval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5973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4CB2D-D831-4C40-ADE3-B09D7D1C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our: Foundations of Mathematical Optimiz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80742-4225-4AE5-A447-DEABC1606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897E8-173C-4314-8606-A28579B83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8D906-1DAB-4103-BF1F-58BFFEF22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A19A3A7-CC50-40C3-9083-B6AF2FDBD443}"/>
              </a:ext>
            </a:extLst>
          </p:cNvPr>
          <p:cNvSpPr txBox="1">
            <a:spLocks/>
          </p:cNvSpPr>
          <p:nvPr/>
        </p:nvSpPr>
        <p:spPr>
          <a:xfrm>
            <a:off x="6199133" y="1513862"/>
            <a:ext cx="5658437" cy="2728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endParaRPr lang="en-US" kern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5B1AF-6D76-4D9A-9F57-3AB168B39B90}"/>
              </a:ext>
            </a:extLst>
          </p:cNvPr>
          <p:cNvSpPr/>
          <p:nvPr/>
        </p:nvSpPr>
        <p:spPr bwMode="auto">
          <a:xfrm>
            <a:off x="6197605" y="4242815"/>
            <a:ext cx="5659965" cy="873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llustration of Simplex Algorithm’s Geometric Principles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cs typeface="Arial" pitchFamily="34" charset="0"/>
              </a:rPr>
              <a:t>https://upload.wikimedia.org/wikipedia/commons/thumb/e/ef/Simplex-description-en.svg/767px-Simplex-description-en.svg.p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4FFFA2-2355-4101-B721-25107DDE161D}"/>
              </a:ext>
            </a:extLst>
          </p:cNvPr>
          <p:cNvSpPr/>
          <p:nvPr/>
        </p:nvSpPr>
        <p:spPr bwMode="auto">
          <a:xfrm>
            <a:off x="6197603" y="976853"/>
            <a:ext cx="5659967" cy="537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Simplex Algorith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38D711-EF66-4E41-A741-E943CD0C46FB}"/>
              </a:ext>
            </a:extLst>
          </p:cNvPr>
          <p:cNvSpPr/>
          <p:nvPr/>
        </p:nvSpPr>
        <p:spPr bwMode="auto">
          <a:xfrm>
            <a:off x="6197605" y="5116512"/>
            <a:ext cx="5659965" cy="12652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ased on geometry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vented by George Dantzig in 1947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till in use today due to good average-case performance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9B4FF09-45B3-4D05-B2E8-16F7C510C6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93" t="-7390" r="-1916" b="-2610"/>
          <a:stretch/>
        </p:blipFill>
        <p:spPr bwMode="auto">
          <a:xfrm>
            <a:off x="7463372" y="1604761"/>
            <a:ext cx="3128428" cy="254909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BAE1CD5-E506-40D9-9394-D60253683997}"/>
              </a:ext>
            </a:extLst>
          </p:cNvPr>
          <p:cNvSpPr txBox="1">
            <a:spLocks/>
          </p:cNvSpPr>
          <p:nvPr/>
        </p:nvSpPr>
        <p:spPr>
          <a:xfrm>
            <a:off x="334432" y="1513863"/>
            <a:ext cx="5658437" cy="2728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endParaRPr lang="en-US" kern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85DE7-F6D3-4C83-9055-BB3E8B9BEC5A}"/>
              </a:ext>
            </a:extLst>
          </p:cNvPr>
          <p:cNvSpPr/>
          <p:nvPr/>
        </p:nvSpPr>
        <p:spPr bwMode="auto">
          <a:xfrm>
            <a:off x="332904" y="4242816"/>
            <a:ext cx="5659965" cy="873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anonical Form of Linear Progra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ttps://en.wikipedia.org/wiki/Linear_programming</a:t>
            </a: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A6AADEA-5CBE-4082-9637-642AAED3451A}"/>
              </a:ext>
            </a:extLst>
          </p:cNvPr>
          <p:cNvSpPr/>
          <p:nvPr/>
        </p:nvSpPr>
        <p:spPr bwMode="auto">
          <a:xfrm>
            <a:off x="332902" y="976854"/>
            <a:ext cx="5659967" cy="537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inear Programm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07E7B16-C9F2-4EBA-873E-F3AC9C697402}"/>
              </a:ext>
            </a:extLst>
          </p:cNvPr>
          <p:cNvSpPr/>
          <p:nvPr/>
        </p:nvSpPr>
        <p:spPr bwMode="auto">
          <a:xfrm>
            <a:off x="332904" y="5116513"/>
            <a:ext cx="5659965" cy="12652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most common form of optimization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origins in operations research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can be solved quite efficiently on conventional hardware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27B6DF2-E19F-4EB1-B320-FCD921E213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2407" y="2134854"/>
            <a:ext cx="3540956" cy="1566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1076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8" grpId="0" animBg="1"/>
      <p:bldP spid="10" grpId="0" animBg="1"/>
      <p:bldP spid="11" grpId="0" animBg="1"/>
      <p:bldP spid="1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F4997E6B-7E0E-46A6-864D-9A463D41D8FA}"/>
              </a:ext>
            </a:extLst>
          </p:cNvPr>
          <p:cNvSpPr/>
          <p:nvPr/>
        </p:nvSpPr>
        <p:spPr bwMode="auto">
          <a:xfrm>
            <a:off x="332902" y="1513861"/>
            <a:ext cx="7409337" cy="48678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A354D76C-D619-44A3-A6B8-71F2A2E6A0ED}"/>
              </a:ext>
            </a:extLst>
          </p:cNvPr>
          <p:cNvSpPr txBox="1">
            <a:spLocks/>
          </p:cNvSpPr>
          <p:nvPr/>
        </p:nvSpPr>
        <p:spPr>
          <a:xfrm>
            <a:off x="8077200" y="981076"/>
            <a:ext cx="3780369" cy="54006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endParaRPr lang="en-US" kern="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EF05CDB-3565-4FE7-AFEB-A58729D649B7}"/>
              </a:ext>
            </a:extLst>
          </p:cNvPr>
          <p:cNvSpPr/>
          <p:nvPr/>
        </p:nvSpPr>
        <p:spPr bwMode="auto">
          <a:xfrm>
            <a:off x="332902" y="976854"/>
            <a:ext cx="7409337" cy="537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Why did we choose a </a:t>
            </a:r>
            <a:r>
              <a:rPr lang="de-DE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preprocessing zkSNARK 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for our implementation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5F0D61-F8F2-4AA2-8BF0-F76DD1E8F8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oice of Technology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F7346-DEF6-494C-BEF6-02AF8C03F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EE5541-F51B-4D02-8901-0DC034255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BB56D6-7E56-4F32-9B56-6BE9CE3D9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104A8B-201C-495A-A533-23C8956BD9CE}"/>
              </a:ext>
            </a:extLst>
          </p:cNvPr>
          <p:cNvGrpSpPr/>
          <p:nvPr/>
        </p:nvGrpSpPr>
        <p:grpSpPr>
          <a:xfrm>
            <a:off x="8305800" y="1689372"/>
            <a:ext cx="640555" cy="4501877"/>
            <a:chOff x="2571750" y="1603647"/>
            <a:chExt cx="640555" cy="45018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ED9BBAF-4CCE-4F9D-997D-09836D173BA7}"/>
                </a:ext>
              </a:extLst>
            </p:cNvPr>
            <p:cNvSpPr/>
            <p:nvPr/>
          </p:nvSpPr>
          <p:spPr bwMode="auto">
            <a:xfrm>
              <a:off x="2571750" y="1603647"/>
              <a:ext cx="640555" cy="4501877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u="sng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aphicFrame>
          <p:nvGraphicFramePr>
            <p:cNvPr id="8" name="Table 7">
              <a:extLst>
                <a:ext uri="{FF2B5EF4-FFF2-40B4-BE49-F238E27FC236}">
                  <a16:creationId xmlns:a16="http://schemas.microsoft.com/office/drawing/2014/main" id="{1442D7AD-E6DA-4ADD-A51C-7800884CAB3F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615570209"/>
                </p:ext>
              </p:extLst>
            </p:nvPr>
          </p:nvGraphicFramePr>
          <p:xfrm>
            <a:off x="2660067" y="1699600"/>
            <a:ext cx="464977" cy="4333833"/>
          </p:xfrm>
          <a:graphic>
            <a:graphicData uri="http://schemas.openxmlformats.org/drawingml/2006/table">
              <a:tbl>
                <a:tblPr>
                  <a:tableStyleId>{5C22544A-7EE6-4342-B048-85BDC9FD1C3A}</a:tableStyleId>
                </a:tblPr>
                <a:tblGrid>
                  <a:gridCol w="464977">
                    <a:extLst>
                      <a:ext uri="{9D8B030D-6E8A-4147-A177-3AD203B41FA5}">
                        <a16:colId xmlns:a16="http://schemas.microsoft.com/office/drawing/2014/main" val="3424177433"/>
                      </a:ext>
                    </a:extLst>
                  </a:gridCol>
                </a:tblGrid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B7DD2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230644995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marL="0" algn="l" defTabSz="914400" rtl="0" eaLnBrk="1" latinLnBrk="0" hangingPunct="1"/>
                        <a:endPara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68791" marR="68791" marT="34395" marB="34395">
                      <a:solidFill>
                        <a:srgbClr val="57E32C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291849961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FFE234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388974194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FFE234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860794588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FFE234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642498145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B7DD2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503082470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FFE234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80965820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B7DD2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4163142314"/>
                    </a:ext>
                  </a:extLst>
                </a:tr>
                <a:tr h="481537">
                  <a:tc>
                    <a:txBody>
                      <a:bodyPr/>
                      <a:lstStyle/>
                      <a:p>
                        <a:pPr algn="l"/>
                        <a:endParaRPr lang="en-US" sz="1200" dirty="0"/>
                      </a:p>
                    </a:txBody>
                    <a:tcPr marL="68791" marR="68791" marT="34395" marB="34395">
                      <a:solidFill>
                        <a:srgbClr val="FFA534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574037018"/>
                    </a:ext>
                  </a:extLst>
                </a:tr>
              </a:tbl>
            </a:graphicData>
          </a:graphic>
        </p:graphicFrame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8D02B56-0820-46E3-A9E7-39484452D2DD}"/>
              </a:ext>
            </a:extLst>
          </p:cNvPr>
          <p:cNvSpPr txBox="1"/>
          <p:nvPr/>
        </p:nvSpPr>
        <p:spPr>
          <a:xfrm>
            <a:off x="9085974" y="1850239"/>
            <a:ext cx="915635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dirty="0"/>
              <a:t>Integrity</a:t>
            </a:r>
            <a:endParaRPr lang="en-US" sz="1600" kern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C9461A-1D65-405E-BD0B-F986A64AC7D2}"/>
              </a:ext>
            </a:extLst>
          </p:cNvPr>
          <p:cNvSpPr txBox="1"/>
          <p:nvPr/>
        </p:nvSpPr>
        <p:spPr>
          <a:xfrm>
            <a:off x="9085974" y="2827761"/>
            <a:ext cx="1430584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Transparency</a:t>
            </a:r>
            <a:endParaRPr lang="en-US" sz="1600" kern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C1AA1F-4208-47BB-8788-DD41B1BF1ED1}"/>
              </a:ext>
            </a:extLst>
          </p:cNvPr>
          <p:cNvSpPr txBox="1"/>
          <p:nvPr/>
        </p:nvSpPr>
        <p:spPr>
          <a:xfrm>
            <a:off x="9085974" y="2339000"/>
            <a:ext cx="1470274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Confidentiality</a:t>
            </a:r>
            <a:endParaRPr lang="en-US" sz="1600" kern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47BE11-348B-4DB7-8C12-8ED638C64ED3}"/>
              </a:ext>
            </a:extLst>
          </p:cNvPr>
          <p:cNvSpPr txBox="1"/>
          <p:nvPr/>
        </p:nvSpPr>
        <p:spPr>
          <a:xfrm>
            <a:off x="9085974" y="3316522"/>
            <a:ext cx="856325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Privacy</a:t>
            </a:r>
            <a:endParaRPr lang="en-US" sz="1600" kern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85A542-F8F0-4A72-9B4B-1ED6E1BD779A}"/>
              </a:ext>
            </a:extLst>
          </p:cNvPr>
          <p:cNvSpPr txBox="1"/>
          <p:nvPr/>
        </p:nvSpPr>
        <p:spPr>
          <a:xfrm>
            <a:off x="9085974" y="4294044"/>
            <a:ext cx="1897058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Transaction Speed</a:t>
            </a:r>
            <a:endParaRPr lang="en-US" sz="1600" kern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D2881F-3C5E-4C05-B971-CE2E7E8E4991}"/>
              </a:ext>
            </a:extLst>
          </p:cNvPr>
          <p:cNvSpPr txBox="1"/>
          <p:nvPr/>
        </p:nvSpPr>
        <p:spPr>
          <a:xfrm>
            <a:off x="9085974" y="3805283"/>
            <a:ext cx="2191626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Memory Consumption</a:t>
            </a:r>
            <a:endParaRPr lang="en-US" sz="1600" kern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722011-67E0-4963-AD52-DC2ABD433811}"/>
              </a:ext>
            </a:extLst>
          </p:cNvPr>
          <p:cNvSpPr txBox="1"/>
          <p:nvPr/>
        </p:nvSpPr>
        <p:spPr>
          <a:xfrm>
            <a:off x="9085974" y="4782805"/>
            <a:ext cx="915635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Maturity</a:t>
            </a:r>
            <a:endParaRPr lang="en-US" sz="1600" kern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C53FCB1-71B3-4B00-9C4D-718795B6F1C7}"/>
              </a:ext>
            </a:extLst>
          </p:cNvPr>
          <p:cNvSpPr txBox="1"/>
          <p:nvPr/>
        </p:nvSpPr>
        <p:spPr>
          <a:xfrm>
            <a:off x="9085974" y="5271566"/>
            <a:ext cx="957313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Usability</a:t>
            </a:r>
            <a:endParaRPr lang="en-US" sz="1600" kern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A930D9-6A95-48CD-A3C4-D8EEF1630EE5}"/>
              </a:ext>
            </a:extLst>
          </p:cNvPr>
          <p:cNvSpPr txBox="1"/>
          <p:nvPr/>
        </p:nvSpPr>
        <p:spPr>
          <a:xfrm>
            <a:off x="9085974" y="5760328"/>
            <a:ext cx="1265090" cy="313932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lvl="0" indent="0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baseline="0" dirty="0"/>
              <a:t>Extensibility</a:t>
            </a:r>
            <a:endParaRPr lang="en-US" sz="1600" kern="1200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E8776AE-BD39-4D87-B682-94A48D68C3AD}"/>
              </a:ext>
            </a:extLst>
          </p:cNvPr>
          <p:cNvGrpSpPr/>
          <p:nvPr/>
        </p:nvGrpSpPr>
        <p:grpSpPr>
          <a:xfrm>
            <a:off x="1065770" y="1725540"/>
            <a:ext cx="7114807" cy="594143"/>
            <a:chOff x="1065770" y="1725540"/>
            <a:chExt cx="7114807" cy="594143"/>
          </a:xfrm>
        </p:grpSpPr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DDD3508B-60B5-4704-8332-427C7528E8F1}"/>
                </a:ext>
              </a:extLst>
            </p:cNvPr>
            <p:cNvSpPr/>
            <p:nvPr/>
          </p:nvSpPr>
          <p:spPr bwMode="auto">
            <a:xfrm>
              <a:off x="7867109" y="1800874"/>
              <a:ext cx="313468" cy="435361"/>
            </a:xfrm>
            <a:prstGeom prst="leftBrace">
              <a:avLst>
                <a:gd name="adj1" fmla="val 20147"/>
                <a:gd name="adj2" fmla="val 50000"/>
              </a:avLst>
            </a:prstGeom>
            <a:ln w="19050" cap="rnd" cmpd="sng">
              <a:solidFill>
                <a:schemeClr val="accent5"/>
              </a:solidFill>
              <a:prstDash val="solid"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7B998E66-5A10-45AD-A718-9229B21BAFFD}"/>
                </a:ext>
              </a:extLst>
            </p:cNvPr>
            <p:cNvSpPr/>
            <p:nvPr/>
          </p:nvSpPr>
          <p:spPr bwMode="auto">
            <a:xfrm>
              <a:off x="1065770" y="1725540"/>
              <a:ext cx="5943600" cy="594143"/>
            </a:xfrm>
            <a:prstGeom prst="roundRect">
              <a:avLst/>
            </a:prstGeom>
            <a:solidFill>
              <a:srgbClr val="98C6EA"/>
            </a:solidFill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trusted setup not a problem for energy applications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91BD3D6-7F20-4174-8093-2DD2FAF464EA}"/>
                </a:ext>
              </a:extLst>
            </p:cNvPr>
            <p:cNvCxnSpPr>
              <a:cxnSpLocks/>
              <a:stCxn id="35" idx="3"/>
              <a:endCxn id="34" idx="1"/>
            </p:cNvCxnSpPr>
            <p:nvPr/>
          </p:nvCxnSpPr>
          <p:spPr bwMode="auto">
            <a:xfrm flipV="1">
              <a:off x="7009370" y="2018555"/>
              <a:ext cx="857739" cy="4057"/>
            </a:xfrm>
            <a:prstGeom prst="line">
              <a:avLst/>
            </a:prstGeom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2139921-7473-426A-9900-3712362CEEB5}"/>
              </a:ext>
            </a:extLst>
          </p:cNvPr>
          <p:cNvGrpSpPr/>
          <p:nvPr/>
        </p:nvGrpSpPr>
        <p:grpSpPr>
          <a:xfrm>
            <a:off x="1049615" y="2338999"/>
            <a:ext cx="7130962" cy="1309075"/>
            <a:chOff x="1049615" y="1162491"/>
            <a:chExt cx="7130962" cy="1309075"/>
          </a:xfrm>
        </p:grpSpPr>
        <p:sp>
          <p:nvSpPr>
            <p:cNvPr id="52" name="Left Brace 51">
              <a:extLst>
                <a:ext uri="{FF2B5EF4-FFF2-40B4-BE49-F238E27FC236}">
                  <a16:creationId xmlns:a16="http://schemas.microsoft.com/office/drawing/2014/main" id="{98255BF9-77E6-43D3-83BD-2B9808D85445}"/>
                </a:ext>
              </a:extLst>
            </p:cNvPr>
            <p:cNvSpPr/>
            <p:nvPr/>
          </p:nvSpPr>
          <p:spPr bwMode="auto">
            <a:xfrm>
              <a:off x="7867109" y="1162491"/>
              <a:ext cx="313468" cy="1309075"/>
            </a:xfrm>
            <a:prstGeom prst="leftBrace">
              <a:avLst>
                <a:gd name="adj1" fmla="val 20147"/>
                <a:gd name="adj2" fmla="val 50000"/>
              </a:avLst>
            </a:prstGeom>
            <a:ln w="19050" cap="rnd" cmpd="sng">
              <a:solidFill>
                <a:schemeClr val="accent5"/>
              </a:solidFill>
              <a:prstDash val="solid"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9E540A9F-108E-4A78-BDA0-65F01B72F815}"/>
                </a:ext>
              </a:extLst>
            </p:cNvPr>
            <p:cNvSpPr/>
            <p:nvPr/>
          </p:nvSpPr>
          <p:spPr bwMode="auto">
            <a:xfrm>
              <a:off x="1049615" y="1519957"/>
              <a:ext cx="5943600" cy="594143"/>
            </a:xfrm>
            <a:prstGeom prst="roundRect">
              <a:avLst/>
            </a:prstGeom>
            <a:solidFill>
              <a:srgbClr val="98C6EA"/>
            </a:solidFill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good security guarantees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A8A5B20-34DB-4F08-A115-9231675C7DAF}"/>
                </a:ext>
              </a:extLst>
            </p:cNvPr>
            <p:cNvCxnSpPr>
              <a:cxnSpLocks/>
              <a:stCxn id="53" idx="3"/>
              <a:endCxn id="52" idx="1"/>
            </p:cNvCxnSpPr>
            <p:nvPr/>
          </p:nvCxnSpPr>
          <p:spPr bwMode="auto">
            <a:xfrm>
              <a:off x="6993215" y="1817029"/>
              <a:ext cx="873894" cy="0"/>
            </a:xfrm>
            <a:prstGeom prst="line">
              <a:avLst/>
            </a:prstGeom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F4E8569-5B8C-4AEA-B3BD-E9CA74689EE7}"/>
              </a:ext>
            </a:extLst>
          </p:cNvPr>
          <p:cNvGrpSpPr/>
          <p:nvPr/>
        </p:nvGrpSpPr>
        <p:grpSpPr>
          <a:xfrm>
            <a:off x="1064700" y="3781956"/>
            <a:ext cx="7114807" cy="845186"/>
            <a:chOff x="1065770" y="1595962"/>
            <a:chExt cx="7114807" cy="845186"/>
          </a:xfrm>
        </p:grpSpPr>
        <p:sp>
          <p:nvSpPr>
            <p:cNvPr id="65" name="Left Brace 64">
              <a:extLst>
                <a:ext uri="{FF2B5EF4-FFF2-40B4-BE49-F238E27FC236}">
                  <a16:creationId xmlns:a16="http://schemas.microsoft.com/office/drawing/2014/main" id="{497F90A0-EA9A-4172-A4E9-FFD08216ED8F}"/>
                </a:ext>
              </a:extLst>
            </p:cNvPr>
            <p:cNvSpPr/>
            <p:nvPr/>
          </p:nvSpPr>
          <p:spPr bwMode="auto">
            <a:xfrm>
              <a:off x="7867109" y="1595962"/>
              <a:ext cx="313468" cy="845186"/>
            </a:xfrm>
            <a:prstGeom prst="leftBrace">
              <a:avLst>
                <a:gd name="adj1" fmla="val 20147"/>
                <a:gd name="adj2" fmla="val 50000"/>
              </a:avLst>
            </a:prstGeom>
            <a:ln w="19050" cap="rnd" cmpd="sng">
              <a:solidFill>
                <a:schemeClr val="accent5"/>
              </a:solidFill>
              <a:prstDash val="solid"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06EE0C35-3F23-4226-BC64-9E9E82262AC2}"/>
                </a:ext>
              </a:extLst>
            </p:cNvPr>
            <p:cNvSpPr/>
            <p:nvPr/>
          </p:nvSpPr>
          <p:spPr bwMode="auto">
            <a:xfrm>
              <a:off x="1065770" y="1725540"/>
              <a:ext cx="5943600" cy="594143"/>
            </a:xfrm>
            <a:prstGeom prst="roundRect">
              <a:avLst/>
            </a:prstGeom>
            <a:solidFill>
              <a:srgbClr val="98C6EA"/>
            </a:solidFill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decent performance (in theory)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4336A97F-3863-4FCC-AFD2-DADD41B0202A}"/>
                </a:ext>
              </a:extLst>
            </p:cNvPr>
            <p:cNvCxnSpPr>
              <a:cxnSpLocks/>
              <a:stCxn id="66" idx="3"/>
              <a:endCxn id="65" idx="1"/>
            </p:cNvCxnSpPr>
            <p:nvPr/>
          </p:nvCxnSpPr>
          <p:spPr bwMode="auto">
            <a:xfrm flipV="1">
              <a:off x="7009370" y="2018555"/>
              <a:ext cx="857739" cy="4057"/>
            </a:xfrm>
            <a:prstGeom prst="line">
              <a:avLst/>
            </a:prstGeom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DB3EF58-1913-42F2-A188-0400FC894201}"/>
              </a:ext>
            </a:extLst>
          </p:cNvPr>
          <p:cNvGrpSpPr/>
          <p:nvPr/>
        </p:nvGrpSpPr>
        <p:grpSpPr>
          <a:xfrm>
            <a:off x="1064700" y="4725478"/>
            <a:ext cx="7114807" cy="1348782"/>
            <a:chOff x="1065770" y="1344164"/>
            <a:chExt cx="7114807" cy="1348782"/>
          </a:xfrm>
        </p:grpSpPr>
        <p:sp>
          <p:nvSpPr>
            <p:cNvPr id="74" name="Left Brace 73">
              <a:extLst>
                <a:ext uri="{FF2B5EF4-FFF2-40B4-BE49-F238E27FC236}">
                  <a16:creationId xmlns:a16="http://schemas.microsoft.com/office/drawing/2014/main" id="{987B475F-B015-42E7-AF8C-0F4DEF00BC17}"/>
                </a:ext>
              </a:extLst>
            </p:cNvPr>
            <p:cNvSpPr/>
            <p:nvPr/>
          </p:nvSpPr>
          <p:spPr bwMode="auto">
            <a:xfrm>
              <a:off x="7867109" y="1344164"/>
              <a:ext cx="313468" cy="1348782"/>
            </a:xfrm>
            <a:prstGeom prst="leftBrace">
              <a:avLst>
                <a:gd name="adj1" fmla="val 20147"/>
                <a:gd name="adj2" fmla="val 50000"/>
              </a:avLst>
            </a:prstGeom>
            <a:ln w="19050" cap="rnd" cmpd="sng">
              <a:solidFill>
                <a:schemeClr val="accent5"/>
              </a:solidFill>
              <a:prstDash val="solid"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3E9BF8CC-3E0E-4DEA-A9E0-62964818F28E}"/>
                </a:ext>
              </a:extLst>
            </p:cNvPr>
            <p:cNvSpPr/>
            <p:nvPr/>
          </p:nvSpPr>
          <p:spPr bwMode="auto">
            <a:xfrm>
              <a:off x="1065770" y="1725540"/>
              <a:ext cx="5943600" cy="594143"/>
            </a:xfrm>
            <a:prstGeom prst="roundRect">
              <a:avLst/>
            </a:prstGeom>
            <a:solidFill>
              <a:srgbClr val="98C6EA"/>
            </a:solidFill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bg1"/>
                  </a:solidFill>
                  <a:cs typeface="Arial" pitchFamily="34" charset="0"/>
                </a:rPr>
                <a:t>very active development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301A6C32-F315-41A8-BE23-3C9985215259}"/>
                </a:ext>
              </a:extLst>
            </p:cNvPr>
            <p:cNvCxnSpPr>
              <a:cxnSpLocks/>
              <a:stCxn id="75" idx="3"/>
              <a:endCxn id="74" idx="1"/>
            </p:cNvCxnSpPr>
            <p:nvPr/>
          </p:nvCxnSpPr>
          <p:spPr bwMode="auto">
            <a:xfrm flipV="1">
              <a:off x="7009370" y="2018555"/>
              <a:ext cx="857739" cy="4057"/>
            </a:xfrm>
            <a:prstGeom prst="line">
              <a:avLst/>
            </a:prstGeom>
            <a:ln>
              <a:solidFill>
                <a:srgbClr val="0073CF"/>
              </a:solidFill>
              <a:headEnd type="none" w="med" len="med"/>
              <a:tailEnd type="non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640199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4CB2D-D831-4C40-ADE3-B09D7D1C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ZoKrates</a:t>
            </a:r>
            <a:r>
              <a:rPr lang="en-US" dirty="0"/>
              <a:t> Platform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366FC87-3044-4FBD-B8AB-308E8CA230A9}"/>
              </a:ext>
            </a:extLst>
          </p:cNvPr>
          <p:cNvSpPr/>
          <p:nvPr/>
        </p:nvSpPr>
        <p:spPr>
          <a:xfrm>
            <a:off x="334434" y="981076"/>
            <a:ext cx="2250611" cy="5400675"/>
          </a:xfrm>
          <a:custGeom>
            <a:avLst/>
            <a:gdLst>
              <a:gd name="connsiteX0" fmla="*/ 0 w 2250611"/>
              <a:gd name="connsiteY0" fmla="*/ 225061 h 5400675"/>
              <a:gd name="connsiteX1" fmla="*/ 225061 w 2250611"/>
              <a:gd name="connsiteY1" fmla="*/ 0 h 5400675"/>
              <a:gd name="connsiteX2" fmla="*/ 2025550 w 2250611"/>
              <a:gd name="connsiteY2" fmla="*/ 0 h 5400675"/>
              <a:gd name="connsiteX3" fmla="*/ 2250611 w 2250611"/>
              <a:gd name="connsiteY3" fmla="*/ 225061 h 5400675"/>
              <a:gd name="connsiteX4" fmla="*/ 2250611 w 2250611"/>
              <a:gd name="connsiteY4" fmla="*/ 5175614 h 5400675"/>
              <a:gd name="connsiteX5" fmla="*/ 2025550 w 2250611"/>
              <a:gd name="connsiteY5" fmla="*/ 5400675 h 5400675"/>
              <a:gd name="connsiteX6" fmla="*/ 225061 w 2250611"/>
              <a:gd name="connsiteY6" fmla="*/ 5400675 h 5400675"/>
              <a:gd name="connsiteX7" fmla="*/ 0 w 2250611"/>
              <a:gd name="connsiteY7" fmla="*/ 5175614 h 5400675"/>
              <a:gd name="connsiteX8" fmla="*/ 0 w 2250611"/>
              <a:gd name="connsiteY8" fmla="*/ 225061 h 540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50611" h="5400675">
                <a:moveTo>
                  <a:pt x="0" y="225061"/>
                </a:moveTo>
                <a:cubicBezTo>
                  <a:pt x="0" y="100763"/>
                  <a:pt x="100763" y="0"/>
                  <a:pt x="225061" y="0"/>
                </a:cubicBezTo>
                <a:lnTo>
                  <a:pt x="2025550" y="0"/>
                </a:lnTo>
                <a:cubicBezTo>
                  <a:pt x="2149848" y="0"/>
                  <a:pt x="2250611" y="100763"/>
                  <a:pt x="2250611" y="225061"/>
                </a:cubicBezTo>
                <a:lnTo>
                  <a:pt x="2250611" y="5175614"/>
                </a:lnTo>
                <a:cubicBezTo>
                  <a:pt x="2250611" y="5299912"/>
                  <a:pt x="2149848" y="5400675"/>
                  <a:pt x="2025550" y="5400675"/>
                </a:cubicBezTo>
                <a:lnTo>
                  <a:pt x="225061" y="5400675"/>
                </a:lnTo>
                <a:cubicBezTo>
                  <a:pt x="100763" y="5400675"/>
                  <a:pt x="0" y="5299912"/>
                  <a:pt x="0" y="5175614"/>
                </a:cubicBezTo>
                <a:lnTo>
                  <a:pt x="0" y="22506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743200" rIns="91440" bIns="0" numCol="1" spcCol="1270" anchor="t" anchorCtr="0">
            <a:noAutofit/>
          </a:bodyPr>
          <a:lstStyle/>
          <a:p>
            <a:pPr marL="0" lvl="1" algn="ctr" defTabSz="8445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900" kern="1200" baseline="0" dirty="0"/>
              <a:t>compiles </a:t>
            </a:r>
            <a:br>
              <a:rPr lang="en-US" sz="1900" kern="1200" baseline="0" dirty="0"/>
            </a:br>
            <a:r>
              <a:rPr lang="en-US" sz="1900" kern="1200" baseline="0" dirty="0"/>
              <a:t>DSL code </a:t>
            </a:r>
            <a:br>
              <a:rPr lang="en-US" sz="1900" kern="1200" baseline="0" dirty="0"/>
            </a:br>
            <a:r>
              <a:rPr lang="en-US" sz="1900" kern="1200" baseline="0" dirty="0"/>
              <a:t>into </a:t>
            </a:r>
            <a:br>
              <a:rPr lang="en-US" sz="1900" kern="1200" baseline="0" dirty="0"/>
            </a:br>
            <a:r>
              <a:rPr lang="en-US" sz="1900" kern="1200" baseline="0" dirty="0"/>
              <a:t>arithmetic circuit</a:t>
            </a:r>
            <a:endParaRPr lang="en-US" sz="1900" kern="1200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9645F72-4298-4019-9582-C9FB3129ECBD}"/>
              </a:ext>
            </a:extLst>
          </p:cNvPr>
          <p:cNvSpPr/>
          <p:nvPr/>
        </p:nvSpPr>
        <p:spPr>
          <a:xfrm>
            <a:off x="2652564" y="981076"/>
            <a:ext cx="2250611" cy="5400675"/>
          </a:xfrm>
          <a:custGeom>
            <a:avLst/>
            <a:gdLst>
              <a:gd name="connsiteX0" fmla="*/ 0 w 2250611"/>
              <a:gd name="connsiteY0" fmla="*/ 225061 h 5400675"/>
              <a:gd name="connsiteX1" fmla="*/ 225061 w 2250611"/>
              <a:gd name="connsiteY1" fmla="*/ 0 h 5400675"/>
              <a:gd name="connsiteX2" fmla="*/ 2025550 w 2250611"/>
              <a:gd name="connsiteY2" fmla="*/ 0 h 5400675"/>
              <a:gd name="connsiteX3" fmla="*/ 2250611 w 2250611"/>
              <a:gd name="connsiteY3" fmla="*/ 225061 h 5400675"/>
              <a:gd name="connsiteX4" fmla="*/ 2250611 w 2250611"/>
              <a:gd name="connsiteY4" fmla="*/ 5175614 h 5400675"/>
              <a:gd name="connsiteX5" fmla="*/ 2025550 w 2250611"/>
              <a:gd name="connsiteY5" fmla="*/ 5400675 h 5400675"/>
              <a:gd name="connsiteX6" fmla="*/ 225061 w 2250611"/>
              <a:gd name="connsiteY6" fmla="*/ 5400675 h 5400675"/>
              <a:gd name="connsiteX7" fmla="*/ 0 w 2250611"/>
              <a:gd name="connsiteY7" fmla="*/ 5175614 h 5400675"/>
              <a:gd name="connsiteX8" fmla="*/ 0 w 2250611"/>
              <a:gd name="connsiteY8" fmla="*/ 225061 h 540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50611" h="5400675">
                <a:moveTo>
                  <a:pt x="0" y="225061"/>
                </a:moveTo>
                <a:cubicBezTo>
                  <a:pt x="0" y="100763"/>
                  <a:pt x="100763" y="0"/>
                  <a:pt x="225061" y="0"/>
                </a:cubicBezTo>
                <a:lnTo>
                  <a:pt x="2025550" y="0"/>
                </a:lnTo>
                <a:cubicBezTo>
                  <a:pt x="2149848" y="0"/>
                  <a:pt x="2250611" y="100763"/>
                  <a:pt x="2250611" y="225061"/>
                </a:cubicBezTo>
                <a:lnTo>
                  <a:pt x="2250611" y="5175614"/>
                </a:lnTo>
                <a:cubicBezTo>
                  <a:pt x="2250611" y="5299912"/>
                  <a:pt x="2149848" y="5400675"/>
                  <a:pt x="2025550" y="5400675"/>
                </a:cubicBezTo>
                <a:lnTo>
                  <a:pt x="225061" y="5400675"/>
                </a:lnTo>
                <a:cubicBezTo>
                  <a:pt x="100763" y="5400675"/>
                  <a:pt x="0" y="5299912"/>
                  <a:pt x="0" y="5175614"/>
                </a:cubicBezTo>
                <a:lnTo>
                  <a:pt x="0" y="22506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743200" rIns="91440" bIns="0" numCol="1" spcCol="1270" anchor="t" anchorCtr="0">
            <a:noAutofit/>
          </a:bodyPr>
          <a:lstStyle/>
          <a:p>
            <a:pPr marL="0" lvl="1" algn="ctr" defTabSz="8445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900" kern="1200" baseline="0" dirty="0"/>
              <a:t>calculates result </a:t>
            </a:r>
            <a:br>
              <a:rPr lang="en-US" sz="1900" kern="1200" baseline="0" dirty="0"/>
            </a:br>
            <a:r>
              <a:rPr lang="en-US" sz="1900" kern="1200" baseline="0" dirty="0"/>
              <a:t>by executing </a:t>
            </a:r>
            <a:br>
              <a:rPr lang="en-US" sz="1900" kern="1200" baseline="0" dirty="0"/>
            </a:br>
            <a:r>
              <a:rPr lang="en-US" sz="1900" kern="1200" baseline="0" dirty="0"/>
              <a:t>the program</a:t>
            </a:r>
            <a:endParaRPr lang="en-US" sz="1900" kern="12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4985E68-A3DC-4917-9743-C2E6B39EF353}"/>
              </a:ext>
            </a:extLst>
          </p:cNvPr>
          <p:cNvSpPr/>
          <p:nvPr/>
        </p:nvSpPr>
        <p:spPr>
          <a:xfrm>
            <a:off x="4970694" y="981076"/>
            <a:ext cx="2250611" cy="5400675"/>
          </a:xfrm>
          <a:custGeom>
            <a:avLst/>
            <a:gdLst>
              <a:gd name="connsiteX0" fmla="*/ 0 w 2250611"/>
              <a:gd name="connsiteY0" fmla="*/ 225061 h 5400675"/>
              <a:gd name="connsiteX1" fmla="*/ 225061 w 2250611"/>
              <a:gd name="connsiteY1" fmla="*/ 0 h 5400675"/>
              <a:gd name="connsiteX2" fmla="*/ 2025550 w 2250611"/>
              <a:gd name="connsiteY2" fmla="*/ 0 h 5400675"/>
              <a:gd name="connsiteX3" fmla="*/ 2250611 w 2250611"/>
              <a:gd name="connsiteY3" fmla="*/ 225061 h 5400675"/>
              <a:gd name="connsiteX4" fmla="*/ 2250611 w 2250611"/>
              <a:gd name="connsiteY4" fmla="*/ 5175614 h 5400675"/>
              <a:gd name="connsiteX5" fmla="*/ 2025550 w 2250611"/>
              <a:gd name="connsiteY5" fmla="*/ 5400675 h 5400675"/>
              <a:gd name="connsiteX6" fmla="*/ 225061 w 2250611"/>
              <a:gd name="connsiteY6" fmla="*/ 5400675 h 5400675"/>
              <a:gd name="connsiteX7" fmla="*/ 0 w 2250611"/>
              <a:gd name="connsiteY7" fmla="*/ 5175614 h 5400675"/>
              <a:gd name="connsiteX8" fmla="*/ 0 w 2250611"/>
              <a:gd name="connsiteY8" fmla="*/ 225061 h 540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50611" h="5400675">
                <a:moveTo>
                  <a:pt x="0" y="225061"/>
                </a:moveTo>
                <a:cubicBezTo>
                  <a:pt x="0" y="100763"/>
                  <a:pt x="100763" y="0"/>
                  <a:pt x="225061" y="0"/>
                </a:cubicBezTo>
                <a:lnTo>
                  <a:pt x="2025550" y="0"/>
                </a:lnTo>
                <a:cubicBezTo>
                  <a:pt x="2149848" y="0"/>
                  <a:pt x="2250611" y="100763"/>
                  <a:pt x="2250611" y="225061"/>
                </a:cubicBezTo>
                <a:lnTo>
                  <a:pt x="2250611" y="5175614"/>
                </a:lnTo>
                <a:cubicBezTo>
                  <a:pt x="2250611" y="5299912"/>
                  <a:pt x="2149848" y="5400675"/>
                  <a:pt x="2025550" y="5400675"/>
                </a:cubicBezTo>
                <a:lnTo>
                  <a:pt x="225061" y="5400675"/>
                </a:lnTo>
                <a:cubicBezTo>
                  <a:pt x="100763" y="5400675"/>
                  <a:pt x="0" y="5299912"/>
                  <a:pt x="0" y="5175614"/>
                </a:cubicBezTo>
                <a:lnTo>
                  <a:pt x="0" y="22506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743200" rIns="91440" bIns="0" numCol="1" spcCol="1270" anchor="t" anchorCtr="0">
            <a:noAutofit/>
          </a:bodyPr>
          <a:lstStyle/>
          <a:p>
            <a:pPr marL="0" lvl="1" algn="ctr" defTabSz="8445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900" kern="1200" baseline="0" dirty="0"/>
              <a:t>performs </a:t>
            </a:r>
            <a:br>
              <a:rPr lang="en-US" sz="1900" kern="1200" baseline="0" dirty="0"/>
            </a:br>
            <a:r>
              <a:rPr lang="en-US" sz="1900" kern="1200" baseline="0" dirty="0"/>
              <a:t>trusted setup </a:t>
            </a:r>
            <a:br>
              <a:rPr lang="en-US" sz="1900" kern="1200" baseline="0" dirty="0"/>
            </a:br>
            <a:r>
              <a:rPr lang="en-US" sz="1900" kern="1200" baseline="0" dirty="0"/>
              <a:t>to share CRS</a:t>
            </a:r>
            <a:endParaRPr lang="en-US" sz="1900" kern="1200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8536D87-407D-42BE-9DBF-275C9A7171E3}"/>
              </a:ext>
            </a:extLst>
          </p:cNvPr>
          <p:cNvSpPr/>
          <p:nvPr/>
        </p:nvSpPr>
        <p:spPr>
          <a:xfrm>
            <a:off x="7288824" y="981076"/>
            <a:ext cx="2250611" cy="5400675"/>
          </a:xfrm>
          <a:custGeom>
            <a:avLst/>
            <a:gdLst>
              <a:gd name="connsiteX0" fmla="*/ 0 w 2250611"/>
              <a:gd name="connsiteY0" fmla="*/ 225061 h 5400675"/>
              <a:gd name="connsiteX1" fmla="*/ 225061 w 2250611"/>
              <a:gd name="connsiteY1" fmla="*/ 0 h 5400675"/>
              <a:gd name="connsiteX2" fmla="*/ 2025550 w 2250611"/>
              <a:gd name="connsiteY2" fmla="*/ 0 h 5400675"/>
              <a:gd name="connsiteX3" fmla="*/ 2250611 w 2250611"/>
              <a:gd name="connsiteY3" fmla="*/ 225061 h 5400675"/>
              <a:gd name="connsiteX4" fmla="*/ 2250611 w 2250611"/>
              <a:gd name="connsiteY4" fmla="*/ 5175614 h 5400675"/>
              <a:gd name="connsiteX5" fmla="*/ 2025550 w 2250611"/>
              <a:gd name="connsiteY5" fmla="*/ 5400675 h 5400675"/>
              <a:gd name="connsiteX6" fmla="*/ 225061 w 2250611"/>
              <a:gd name="connsiteY6" fmla="*/ 5400675 h 5400675"/>
              <a:gd name="connsiteX7" fmla="*/ 0 w 2250611"/>
              <a:gd name="connsiteY7" fmla="*/ 5175614 h 5400675"/>
              <a:gd name="connsiteX8" fmla="*/ 0 w 2250611"/>
              <a:gd name="connsiteY8" fmla="*/ 225061 h 540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50611" h="5400675">
                <a:moveTo>
                  <a:pt x="0" y="225061"/>
                </a:moveTo>
                <a:cubicBezTo>
                  <a:pt x="0" y="100763"/>
                  <a:pt x="100763" y="0"/>
                  <a:pt x="225061" y="0"/>
                </a:cubicBezTo>
                <a:lnTo>
                  <a:pt x="2025550" y="0"/>
                </a:lnTo>
                <a:cubicBezTo>
                  <a:pt x="2149848" y="0"/>
                  <a:pt x="2250611" y="100763"/>
                  <a:pt x="2250611" y="225061"/>
                </a:cubicBezTo>
                <a:lnTo>
                  <a:pt x="2250611" y="5175614"/>
                </a:lnTo>
                <a:cubicBezTo>
                  <a:pt x="2250611" y="5299912"/>
                  <a:pt x="2149848" y="5400675"/>
                  <a:pt x="2025550" y="5400675"/>
                </a:cubicBezTo>
                <a:lnTo>
                  <a:pt x="225061" y="5400675"/>
                </a:lnTo>
                <a:cubicBezTo>
                  <a:pt x="100763" y="5400675"/>
                  <a:pt x="0" y="5299912"/>
                  <a:pt x="0" y="5175614"/>
                </a:cubicBezTo>
                <a:lnTo>
                  <a:pt x="0" y="22506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743200" rIns="91440" bIns="0" numCol="1" spcCol="1270" anchor="t" anchorCtr="0">
            <a:noAutofit/>
          </a:bodyPr>
          <a:lstStyle/>
          <a:p>
            <a:pPr marL="0" lvl="1" algn="ctr" defTabSz="8445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900" kern="1200" baseline="0" dirty="0"/>
              <a:t>derives </a:t>
            </a:r>
            <a:br>
              <a:rPr lang="en-US" sz="1900" kern="1200" baseline="0" dirty="0"/>
            </a:br>
            <a:r>
              <a:rPr lang="en-US" sz="1900" kern="1200" baseline="0" dirty="0"/>
              <a:t>zero-knowledge proof </a:t>
            </a:r>
            <a:br>
              <a:rPr lang="en-US" sz="1900" kern="1200" baseline="0" dirty="0"/>
            </a:br>
            <a:r>
              <a:rPr lang="en-US" sz="1900" kern="1200" baseline="0" dirty="0"/>
              <a:t>from witness</a:t>
            </a:r>
            <a:endParaRPr lang="en-US" sz="1900" kern="120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8797631-5CC6-42B5-B19B-9ADC4604913D}"/>
              </a:ext>
            </a:extLst>
          </p:cNvPr>
          <p:cNvSpPr/>
          <p:nvPr/>
        </p:nvSpPr>
        <p:spPr>
          <a:xfrm>
            <a:off x="9606955" y="981076"/>
            <a:ext cx="2250611" cy="5400675"/>
          </a:xfrm>
          <a:custGeom>
            <a:avLst/>
            <a:gdLst>
              <a:gd name="connsiteX0" fmla="*/ 0 w 2250611"/>
              <a:gd name="connsiteY0" fmla="*/ 225061 h 5400675"/>
              <a:gd name="connsiteX1" fmla="*/ 225061 w 2250611"/>
              <a:gd name="connsiteY1" fmla="*/ 0 h 5400675"/>
              <a:gd name="connsiteX2" fmla="*/ 2025550 w 2250611"/>
              <a:gd name="connsiteY2" fmla="*/ 0 h 5400675"/>
              <a:gd name="connsiteX3" fmla="*/ 2250611 w 2250611"/>
              <a:gd name="connsiteY3" fmla="*/ 225061 h 5400675"/>
              <a:gd name="connsiteX4" fmla="*/ 2250611 w 2250611"/>
              <a:gd name="connsiteY4" fmla="*/ 5175614 h 5400675"/>
              <a:gd name="connsiteX5" fmla="*/ 2025550 w 2250611"/>
              <a:gd name="connsiteY5" fmla="*/ 5400675 h 5400675"/>
              <a:gd name="connsiteX6" fmla="*/ 225061 w 2250611"/>
              <a:gd name="connsiteY6" fmla="*/ 5400675 h 5400675"/>
              <a:gd name="connsiteX7" fmla="*/ 0 w 2250611"/>
              <a:gd name="connsiteY7" fmla="*/ 5175614 h 5400675"/>
              <a:gd name="connsiteX8" fmla="*/ 0 w 2250611"/>
              <a:gd name="connsiteY8" fmla="*/ 225061 h 540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50611" h="5400675">
                <a:moveTo>
                  <a:pt x="0" y="225061"/>
                </a:moveTo>
                <a:cubicBezTo>
                  <a:pt x="0" y="100763"/>
                  <a:pt x="100763" y="0"/>
                  <a:pt x="225061" y="0"/>
                </a:cubicBezTo>
                <a:lnTo>
                  <a:pt x="2025550" y="0"/>
                </a:lnTo>
                <a:cubicBezTo>
                  <a:pt x="2149848" y="0"/>
                  <a:pt x="2250611" y="100763"/>
                  <a:pt x="2250611" y="225061"/>
                </a:cubicBezTo>
                <a:lnTo>
                  <a:pt x="2250611" y="5175614"/>
                </a:lnTo>
                <a:cubicBezTo>
                  <a:pt x="2250611" y="5299912"/>
                  <a:pt x="2149848" y="5400675"/>
                  <a:pt x="2025550" y="5400675"/>
                </a:cubicBezTo>
                <a:lnTo>
                  <a:pt x="225061" y="5400675"/>
                </a:lnTo>
                <a:cubicBezTo>
                  <a:pt x="100763" y="5400675"/>
                  <a:pt x="0" y="5299912"/>
                  <a:pt x="0" y="5175614"/>
                </a:cubicBezTo>
                <a:lnTo>
                  <a:pt x="0" y="22506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2743200" rIns="91440" bIns="0" numCol="1" spcCol="1270" anchor="t" anchorCtr="0">
            <a:noAutofit/>
          </a:bodyPr>
          <a:lstStyle/>
          <a:p>
            <a:pPr marL="0" lvl="1" algn="ctr" defTabSz="8445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900" kern="1200" baseline="0" dirty="0"/>
              <a:t>generates verification </a:t>
            </a:r>
            <a:br>
              <a:rPr lang="en-US" sz="1900" kern="1200" baseline="0" dirty="0"/>
            </a:br>
            <a:r>
              <a:rPr lang="en-US" sz="1900" kern="1200" baseline="0" dirty="0"/>
              <a:t>smart contract</a:t>
            </a:r>
            <a:endParaRPr lang="en-US" sz="1900" kern="1200" dirty="0"/>
          </a:p>
        </p:txBody>
      </p:sp>
      <p:sp>
        <p:nvSpPr>
          <p:cNvPr id="19" name="Arrow: Left-Right 18">
            <a:extLst>
              <a:ext uri="{FF2B5EF4-FFF2-40B4-BE49-F238E27FC236}">
                <a16:creationId xmlns:a16="http://schemas.microsoft.com/office/drawing/2014/main" id="{63FFDC16-AC84-4F0E-BCF2-2EA9D6C2E4E8}"/>
              </a:ext>
            </a:extLst>
          </p:cNvPr>
          <p:cNvSpPr/>
          <p:nvPr/>
        </p:nvSpPr>
        <p:spPr>
          <a:xfrm>
            <a:off x="795359" y="5301616"/>
            <a:ext cx="10601282" cy="810101"/>
          </a:xfrm>
          <a:prstGeom prst="leftRight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80742-4225-4AE5-A447-DEABC1606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897E8-173C-4314-8606-A28579B83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Bernd Steinkopf | Analysis and Implementation of Verifiable Computation Techniques for Energy Blockchain Applications | 14.12.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8D906-1DAB-4103-BF1F-58BFFEF22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53C5C7F-D1AA-4FC6-98F4-B53416915812}"/>
              </a:ext>
            </a:extLst>
          </p:cNvPr>
          <p:cNvGrpSpPr/>
          <p:nvPr/>
        </p:nvGrpSpPr>
        <p:grpSpPr>
          <a:xfrm>
            <a:off x="614945" y="1219196"/>
            <a:ext cx="1689588" cy="2085487"/>
            <a:chOff x="614945" y="1219196"/>
            <a:chExt cx="1689588" cy="208548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2250F4B-4B76-4F7C-9C9A-59417667FCFC}"/>
                </a:ext>
              </a:extLst>
            </p:cNvPr>
            <p:cNvGrpSpPr/>
            <p:nvPr/>
          </p:nvGrpSpPr>
          <p:grpSpPr>
            <a:xfrm>
              <a:off x="614945" y="1219196"/>
              <a:ext cx="1689588" cy="2085487"/>
              <a:chOff x="614945" y="1219196"/>
              <a:chExt cx="1689588" cy="208548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4D099B4-D0C0-494F-8950-EFCC6DEB7A80}"/>
                  </a:ext>
                </a:extLst>
              </p:cNvPr>
              <p:cNvSpPr/>
              <p:nvPr/>
            </p:nvSpPr>
            <p:spPr>
              <a:xfrm>
                <a:off x="834958" y="1219196"/>
                <a:ext cx="1249563" cy="1249563"/>
              </a:xfrm>
              <a:prstGeom prst="ellips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F957E23-00D0-4432-9995-20A188B2B516}"/>
                  </a:ext>
                </a:extLst>
              </p:cNvPr>
              <p:cNvSpPr/>
              <p:nvPr/>
            </p:nvSpPr>
            <p:spPr bwMode="auto">
              <a:xfrm>
                <a:off x="614945" y="2547553"/>
                <a:ext cx="1689588" cy="757130"/>
              </a:xfrm>
              <a:prstGeom prst="rect">
                <a:avLst/>
              </a:prstGeom>
              <a:solidFill>
                <a:srgbClr val="BCC9E9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66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/>
                    <a:ea typeface="+mn-ea"/>
                    <a:cs typeface="+mn-cs"/>
                  </a:rPr>
                  <a:t>Compiler</a:t>
                </a:r>
              </a:p>
            </p:txBody>
          </p:sp>
        </p:grpSp>
        <p:pic>
          <p:nvPicPr>
            <p:cNvPr id="22" name="Graphic 21" descr="Programmer">
              <a:extLst>
                <a:ext uri="{FF2B5EF4-FFF2-40B4-BE49-F238E27FC236}">
                  <a16:creationId xmlns:a16="http://schemas.microsoft.com/office/drawing/2014/main" id="{D0226632-A369-443C-8C5E-FB6276A3C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02539" y="1386777"/>
              <a:ext cx="914400" cy="914400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9EB95E4-FBEC-438D-A6D2-63222BA002FC}"/>
              </a:ext>
            </a:extLst>
          </p:cNvPr>
          <p:cNvGrpSpPr/>
          <p:nvPr/>
        </p:nvGrpSpPr>
        <p:grpSpPr>
          <a:xfrm>
            <a:off x="2933075" y="1219196"/>
            <a:ext cx="1689588" cy="2085487"/>
            <a:chOff x="614945" y="1219196"/>
            <a:chExt cx="1689588" cy="20854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48F590A-D10A-410C-9C05-0E3E67534789}"/>
                </a:ext>
              </a:extLst>
            </p:cNvPr>
            <p:cNvGrpSpPr/>
            <p:nvPr/>
          </p:nvGrpSpPr>
          <p:grpSpPr>
            <a:xfrm>
              <a:off x="614945" y="1219196"/>
              <a:ext cx="1689588" cy="2085487"/>
              <a:chOff x="614945" y="1219196"/>
              <a:chExt cx="1689588" cy="2085487"/>
            </a:xfrm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D38D80A-E419-4253-9C1D-D4FB044D11D4}"/>
                  </a:ext>
                </a:extLst>
              </p:cNvPr>
              <p:cNvSpPr/>
              <p:nvPr/>
            </p:nvSpPr>
            <p:spPr>
              <a:xfrm>
                <a:off x="834958" y="1219196"/>
                <a:ext cx="1249563" cy="1249563"/>
              </a:xfrm>
              <a:prstGeom prst="ellips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3E5392F-D25A-4449-86FE-0ECE6A6232C3}"/>
                  </a:ext>
                </a:extLst>
              </p:cNvPr>
              <p:cNvSpPr/>
              <p:nvPr/>
            </p:nvSpPr>
            <p:spPr bwMode="auto">
              <a:xfrm>
                <a:off x="614945" y="2547553"/>
                <a:ext cx="1689588" cy="757130"/>
              </a:xfrm>
              <a:prstGeom prst="rect">
                <a:avLst/>
              </a:prstGeom>
              <a:solidFill>
                <a:srgbClr val="BCC9E9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066800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2400" u="sng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/>
                  </a:rPr>
                  <a:t>Witness Calculator</a:t>
                </a:r>
              </a:p>
            </p:txBody>
          </p:sp>
        </p:grpSp>
        <p:pic>
          <p:nvPicPr>
            <p:cNvPr id="30" name="Graphic 29" descr="Mathematics">
              <a:extLst>
                <a:ext uri="{FF2B5EF4-FFF2-40B4-BE49-F238E27FC236}">
                  <a16:creationId xmlns:a16="http://schemas.microsoft.com/office/drawing/2014/main" id="{C5C646C7-43E4-4DE1-ABC5-B6903E432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021970" y="1409700"/>
              <a:ext cx="914400" cy="914400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80C901E-0572-4941-8839-038EBEC7BFF2}"/>
              </a:ext>
            </a:extLst>
          </p:cNvPr>
          <p:cNvGrpSpPr/>
          <p:nvPr/>
        </p:nvGrpSpPr>
        <p:grpSpPr>
          <a:xfrm>
            <a:off x="5251205" y="1215496"/>
            <a:ext cx="1689588" cy="2085487"/>
            <a:chOff x="614945" y="1219196"/>
            <a:chExt cx="1689588" cy="2085487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5686EE0-CBE6-4C37-843F-B66E03816253}"/>
                </a:ext>
              </a:extLst>
            </p:cNvPr>
            <p:cNvGrpSpPr/>
            <p:nvPr/>
          </p:nvGrpSpPr>
          <p:grpSpPr>
            <a:xfrm>
              <a:off x="614945" y="1219196"/>
              <a:ext cx="1689588" cy="2085487"/>
              <a:chOff x="614945" y="1219196"/>
              <a:chExt cx="1689588" cy="2085487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5E76753-2953-4FAA-93F0-C5546737C943}"/>
                  </a:ext>
                </a:extLst>
              </p:cNvPr>
              <p:cNvSpPr/>
              <p:nvPr/>
            </p:nvSpPr>
            <p:spPr>
              <a:xfrm>
                <a:off x="834958" y="1219196"/>
                <a:ext cx="1249563" cy="1249563"/>
              </a:xfrm>
              <a:prstGeom prst="ellips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1BC8A022-6143-49EB-8D6B-C676B0F2CB59}"/>
                  </a:ext>
                </a:extLst>
              </p:cNvPr>
              <p:cNvSpPr/>
              <p:nvPr/>
            </p:nvSpPr>
            <p:spPr bwMode="auto">
              <a:xfrm>
                <a:off x="614945" y="2547553"/>
                <a:ext cx="1689588" cy="757130"/>
              </a:xfrm>
              <a:prstGeom prst="rect">
                <a:avLst/>
              </a:prstGeom>
              <a:solidFill>
                <a:srgbClr val="BCC9E9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66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/>
                    <a:ea typeface="+mn-ea"/>
                    <a:cs typeface="+mn-cs"/>
                  </a:rPr>
                  <a:t>Setup Tool</a:t>
                </a:r>
              </a:p>
            </p:txBody>
          </p:sp>
        </p:grpSp>
        <p:pic>
          <p:nvPicPr>
            <p:cNvPr id="35" name="Graphic 34" descr="Key">
              <a:extLst>
                <a:ext uri="{FF2B5EF4-FFF2-40B4-BE49-F238E27FC236}">
                  <a16:creationId xmlns:a16="http://schemas.microsoft.com/office/drawing/2014/main" id="{C00997ED-F471-475B-8073-1A0F1C235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002539" y="1386777"/>
              <a:ext cx="914400" cy="914400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936F2D9-DA9B-46C1-9931-DBEDE45788F0}"/>
              </a:ext>
            </a:extLst>
          </p:cNvPr>
          <p:cNvGrpSpPr/>
          <p:nvPr/>
        </p:nvGrpSpPr>
        <p:grpSpPr>
          <a:xfrm>
            <a:off x="7569335" y="1219196"/>
            <a:ext cx="1689588" cy="2085487"/>
            <a:chOff x="614945" y="1219196"/>
            <a:chExt cx="1689588" cy="208548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EE844EA-E98E-44EC-A53E-BC2F5E5EEE75}"/>
                </a:ext>
              </a:extLst>
            </p:cNvPr>
            <p:cNvGrpSpPr/>
            <p:nvPr/>
          </p:nvGrpSpPr>
          <p:grpSpPr>
            <a:xfrm>
              <a:off x="614945" y="1219196"/>
              <a:ext cx="1689588" cy="2085487"/>
              <a:chOff x="614945" y="1219196"/>
              <a:chExt cx="1689588" cy="2085487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4B965C4F-31D6-48CB-9AAE-F1E44E65DB80}"/>
                  </a:ext>
                </a:extLst>
              </p:cNvPr>
              <p:cNvSpPr/>
              <p:nvPr/>
            </p:nvSpPr>
            <p:spPr>
              <a:xfrm>
                <a:off x="834958" y="1219196"/>
                <a:ext cx="1249563" cy="1249563"/>
              </a:xfrm>
              <a:prstGeom prst="ellips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660D0E9B-C48D-4174-9045-1C5B1FC5299C}"/>
                  </a:ext>
                </a:extLst>
              </p:cNvPr>
              <p:cNvSpPr/>
              <p:nvPr/>
            </p:nvSpPr>
            <p:spPr bwMode="auto">
              <a:xfrm>
                <a:off x="614945" y="2547553"/>
                <a:ext cx="1689588" cy="757130"/>
              </a:xfrm>
              <a:prstGeom prst="rect">
                <a:avLst/>
              </a:prstGeom>
              <a:solidFill>
                <a:srgbClr val="BCC9E9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66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/>
                    <a:ea typeface="+mn-ea"/>
                    <a:cs typeface="+mn-cs"/>
                  </a:rPr>
                  <a:t>Prover</a:t>
                </a:r>
              </a:p>
            </p:txBody>
          </p:sp>
        </p:grpSp>
        <p:pic>
          <p:nvPicPr>
            <p:cNvPr id="40" name="Graphic 39" descr="Diploma roll">
              <a:extLst>
                <a:ext uri="{FF2B5EF4-FFF2-40B4-BE49-F238E27FC236}">
                  <a16:creationId xmlns:a16="http://schemas.microsoft.com/office/drawing/2014/main" id="{BE7DD32D-25D0-4B15-AB68-99A1A10A1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1002539" y="1386777"/>
              <a:ext cx="914400" cy="9144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77ECDC7-936F-4BFF-B54D-476B76F884B8}"/>
              </a:ext>
            </a:extLst>
          </p:cNvPr>
          <p:cNvGrpSpPr/>
          <p:nvPr/>
        </p:nvGrpSpPr>
        <p:grpSpPr>
          <a:xfrm>
            <a:off x="9887467" y="1215496"/>
            <a:ext cx="1689588" cy="2085487"/>
            <a:chOff x="614945" y="1219196"/>
            <a:chExt cx="1689588" cy="2085487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47C0BB9-D93C-4173-BE00-2665879DF5FB}"/>
                </a:ext>
              </a:extLst>
            </p:cNvPr>
            <p:cNvGrpSpPr/>
            <p:nvPr/>
          </p:nvGrpSpPr>
          <p:grpSpPr>
            <a:xfrm>
              <a:off x="614945" y="1219196"/>
              <a:ext cx="1689588" cy="2085487"/>
              <a:chOff x="614945" y="1219196"/>
              <a:chExt cx="1689588" cy="2085487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B6D5C7A-37E1-4D71-8299-679CA8D1D0E2}"/>
                  </a:ext>
                </a:extLst>
              </p:cNvPr>
              <p:cNvSpPr/>
              <p:nvPr/>
            </p:nvSpPr>
            <p:spPr>
              <a:xfrm>
                <a:off x="834958" y="1219196"/>
                <a:ext cx="1249563" cy="1249563"/>
              </a:xfrm>
              <a:prstGeom prst="ellips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6C211586-0E83-4AFC-A91F-17C91A405701}"/>
                  </a:ext>
                </a:extLst>
              </p:cNvPr>
              <p:cNvSpPr/>
              <p:nvPr/>
            </p:nvSpPr>
            <p:spPr bwMode="auto">
              <a:xfrm>
                <a:off x="614945" y="2547553"/>
                <a:ext cx="1689588" cy="757130"/>
              </a:xfrm>
              <a:prstGeom prst="rect">
                <a:avLst/>
              </a:prstGeom>
              <a:solidFill>
                <a:srgbClr val="BCC9E9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66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/>
                    <a:ea typeface="+mn-ea"/>
                    <a:cs typeface="+mn-cs"/>
                  </a:rPr>
                  <a:t>Contract Generator</a:t>
                </a:r>
              </a:p>
            </p:txBody>
          </p:sp>
        </p:grpSp>
        <p:pic>
          <p:nvPicPr>
            <p:cNvPr id="61" name="Graphic 60" descr="Contract">
              <a:extLst>
                <a:ext uri="{FF2B5EF4-FFF2-40B4-BE49-F238E27FC236}">
                  <a16:creationId xmlns:a16="http://schemas.microsoft.com/office/drawing/2014/main" id="{4C16511E-731B-49AE-B904-E871DDC08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1002539" y="1386777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31595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5" grpId="0" animBg="1"/>
      <p:bldP spid="1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4CB2D-D831-4C40-ADE3-B09D7D1C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Performance Measuremen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80742-4225-4AE5-A447-DEABC1606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897E8-173C-4314-8606-A28579B83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8D906-1DAB-4103-BF1F-58BFFEF22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BF9C95C-3A0F-4023-9015-9FB706EA02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2548731"/>
              </p:ext>
            </p:extLst>
          </p:nvPr>
        </p:nvGraphicFramePr>
        <p:xfrm>
          <a:off x="76200" y="1161855"/>
          <a:ext cx="4126894" cy="458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C33D908-FE1F-45BB-8F36-C50C85449E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6346463"/>
              </p:ext>
            </p:extLst>
          </p:nvPr>
        </p:nvGraphicFramePr>
        <p:xfrm>
          <a:off x="4119065" y="1161855"/>
          <a:ext cx="4126894" cy="458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8685ACC-1B2F-4B23-ACFA-F973A22B27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4010473"/>
              </p:ext>
            </p:extLst>
          </p:nvPr>
        </p:nvGraphicFramePr>
        <p:xfrm>
          <a:off x="8161930" y="1161854"/>
          <a:ext cx="4126894" cy="5551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111126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8" grpId="0">
        <p:bldAsOne/>
      </p:bldGraphic>
      <p:bldGraphic spid="9" grpId="0">
        <p:bldAsOne/>
      </p:bldGraphic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4CB2D-D831-4C40-ADE3-B09D7D1C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Sensitivity Analysi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80742-4225-4AE5-A447-DEABC1606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897E8-173C-4314-8606-A28579B83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8D906-1DAB-4103-BF1F-58BFFEF22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BA5ADDD-0F5B-4841-88BE-20947FD385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5501191"/>
              </p:ext>
            </p:extLst>
          </p:nvPr>
        </p:nvGraphicFramePr>
        <p:xfrm>
          <a:off x="329595" y="4117946"/>
          <a:ext cx="3822150" cy="2016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51943AD-0AA2-474F-A5BF-737F1442FA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9271607"/>
              </p:ext>
            </p:extLst>
          </p:nvPr>
        </p:nvGraphicFramePr>
        <p:xfrm>
          <a:off x="4084210" y="4117946"/>
          <a:ext cx="3822150" cy="2016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B0687EC-BF06-460B-AFAF-9F3D66BB0E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9598221"/>
              </p:ext>
            </p:extLst>
          </p:nvPr>
        </p:nvGraphicFramePr>
        <p:xfrm>
          <a:off x="7809322" y="4117946"/>
          <a:ext cx="3822150" cy="2016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A1B641D-A8BF-48AB-A96B-DA062B906D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1692472"/>
              </p:ext>
            </p:extLst>
          </p:nvPr>
        </p:nvGraphicFramePr>
        <p:xfrm>
          <a:off x="320264" y="1485900"/>
          <a:ext cx="3760490" cy="2016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0A82BA78-8080-4C91-A79D-C9A22C2A8B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5799076"/>
              </p:ext>
            </p:extLst>
          </p:nvPr>
        </p:nvGraphicFramePr>
        <p:xfrm>
          <a:off x="4048832" y="1482754"/>
          <a:ext cx="3760490" cy="2016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E1ABC7CE-7653-424C-9878-F311439461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8194406"/>
              </p:ext>
            </p:extLst>
          </p:nvPr>
        </p:nvGraphicFramePr>
        <p:xfrm>
          <a:off x="7777400" y="1489046"/>
          <a:ext cx="3760490" cy="2016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7F7FD280-5B74-4DC0-9835-6D715AE60B91}"/>
              </a:ext>
            </a:extLst>
          </p:cNvPr>
          <p:cNvSpPr txBox="1"/>
          <p:nvPr/>
        </p:nvSpPr>
        <p:spPr>
          <a:xfrm>
            <a:off x="320264" y="1144200"/>
            <a:ext cx="3714478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with respect to number of </a:t>
            </a:r>
            <a:r>
              <a:rPr lang="en-US" sz="1600" i="1" dirty="0">
                <a:solidFill>
                  <a:schemeClr val="accent4">
                    <a:lumMod val="90000"/>
                    <a:lumOff val="10000"/>
                  </a:schemeClr>
                </a:solidFill>
                <a:latin typeface="Arial" pitchFamily="34" charset="0"/>
              </a:rPr>
              <a:t>variables</a:t>
            </a:r>
            <a:r>
              <a:rPr lang="en-US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266283A-44A5-4D01-8CA3-450EDDDCC642}"/>
              </a:ext>
            </a:extLst>
          </p:cNvPr>
          <p:cNvSpPr txBox="1"/>
          <p:nvPr/>
        </p:nvSpPr>
        <p:spPr>
          <a:xfrm>
            <a:off x="315599" y="3723741"/>
            <a:ext cx="3817071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with respect to number of </a:t>
            </a:r>
            <a:r>
              <a:rPr lang="en-US" sz="1600" i="1" dirty="0">
                <a:solidFill>
                  <a:schemeClr val="accent4">
                    <a:lumMod val="90000"/>
                    <a:lumOff val="10000"/>
                  </a:schemeClr>
                </a:solidFill>
                <a:latin typeface="Arial" pitchFamily="34" charset="0"/>
              </a:rPr>
              <a:t>conditions</a:t>
            </a:r>
            <a:r>
              <a:rPr lang="en-US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3017321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Graphic spid="9" grpId="0">
        <p:bldAsOne/>
      </p:bldGraphic>
      <p:bldGraphic spid="10" grpId="0">
        <p:bldAsOne/>
      </p:bldGraphic>
      <p:bldGraphic spid="19" grpId="0">
        <p:bldAsOne/>
      </p:bldGraphic>
      <p:bldGraphic spid="20" grpId="0">
        <p:bldAsOne/>
      </p:bldGraphic>
      <p:bldGraphic spid="21" grpId="0">
        <p:bldAsOne/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B17F9-DF56-4CB9-B96F-65FC6A444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- Revisited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E9176F52-1DA0-4A11-B1CC-1DE3928F6B18}"/>
              </a:ext>
            </a:extLst>
          </p:cNvPr>
          <p:cNvSpPr/>
          <p:nvPr/>
        </p:nvSpPr>
        <p:spPr>
          <a:xfrm>
            <a:off x="2664112" y="955317"/>
            <a:ext cx="3429029" cy="701747"/>
          </a:xfrm>
          <a:custGeom>
            <a:avLst/>
            <a:gdLst>
              <a:gd name="connsiteX0" fmla="*/ 0 w 3429029"/>
              <a:gd name="connsiteY0" fmla="*/ 70175 h 701747"/>
              <a:gd name="connsiteX1" fmla="*/ 70175 w 3429029"/>
              <a:gd name="connsiteY1" fmla="*/ 0 h 701747"/>
              <a:gd name="connsiteX2" fmla="*/ 3358854 w 3429029"/>
              <a:gd name="connsiteY2" fmla="*/ 0 h 701747"/>
              <a:gd name="connsiteX3" fmla="*/ 3429029 w 3429029"/>
              <a:gd name="connsiteY3" fmla="*/ 70175 h 701747"/>
              <a:gd name="connsiteX4" fmla="*/ 3429029 w 3429029"/>
              <a:gd name="connsiteY4" fmla="*/ 631572 h 701747"/>
              <a:gd name="connsiteX5" fmla="*/ 3358854 w 3429029"/>
              <a:gd name="connsiteY5" fmla="*/ 701747 h 701747"/>
              <a:gd name="connsiteX6" fmla="*/ 70175 w 3429029"/>
              <a:gd name="connsiteY6" fmla="*/ 701747 h 701747"/>
              <a:gd name="connsiteX7" fmla="*/ 0 w 3429029"/>
              <a:gd name="connsiteY7" fmla="*/ 631572 h 701747"/>
              <a:gd name="connsiteX8" fmla="*/ 0 w 3429029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29029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3358854" y="0"/>
                </a:lnTo>
                <a:cubicBezTo>
                  <a:pt x="3397611" y="0"/>
                  <a:pt x="3429029" y="31418"/>
                  <a:pt x="3429029" y="70175"/>
                </a:cubicBezTo>
                <a:lnTo>
                  <a:pt x="3429029" y="631572"/>
                </a:lnTo>
                <a:cubicBezTo>
                  <a:pt x="3429029" y="670329"/>
                  <a:pt x="3397611" y="701747"/>
                  <a:pt x="3358854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8663" tIns="138663" rIns="138663" bIns="138663" numCol="1" spcCol="1270" anchor="ctr" anchorCtr="0">
            <a:noAutofit/>
          </a:bodyPr>
          <a:lstStyle/>
          <a:p>
            <a:pPr marL="0" lvl="0" indent="0" algn="ctr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/>
              <a:t>Theory</a:t>
            </a: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830B6650-369A-4242-81AA-34AFF4378BD5}"/>
              </a:ext>
            </a:extLst>
          </p:cNvPr>
          <p:cNvSpPr/>
          <p:nvPr/>
        </p:nvSpPr>
        <p:spPr>
          <a:xfrm>
            <a:off x="2667459" y="180227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Use Case Requirements</a:t>
            </a: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D7F970DE-8BE0-4C3D-9E82-6F9C0631834D}"/>
              </a:ext>
            </a:extLst>
          </p:cNvPr>
          <p:cNvSpPr/>
          <p:nvPr/>
        </p:nvSpPr>
        <p:spPr>
          <a:xfrm>
            <a:off x="2667459" y="264923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Literature Analysis – Blockchain in the Energy Industry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116F70B-44BC-4692-B51B-CBC597BED344}"/>
              </a:ext>
            </a:extLst>
          </p:cNvPr>
          <p:cNvSpPr/>
          <p:nvPr/>
        </p:nvSpPr>
        <p:spPr>
          <a:xfrm>
            <a:off x="4431069" y="180227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Technology Comparison</a:t>
            </a: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12DE96C0-40FE-4696-B44D-39A895E5C4DA}"/>
              </a:ext>
            </a:extLst>
          </p:cNvPr>
          <p:cNvSpPr/>
          <p:nvPr/>
        </p:nvSpPr>
        <p:spPr>
          <a:xfrm>
            <a:off x="4431069" y="2649238"/>
            <a:ext cx="1658724" cy="701747"/>
          </a:xfrm>
          <a:custGeom>
            <a:avLst/>
            <a:gdLst>
              <a:gd name="connsiteX0" fmla="*/ 0 w 1658724"/>
              <a:gd name="connsiteY0" fmla="*/ 70175 h 701747"/>
              <a:gd name="connsiteX1" fmla="*/ 70175 w 1658724"/>
              <a:gd name="connsiteY1" fmla="*/ 0 h 701747"/>
              <a:gd name="connsiteX2" fmla="*/ 1588549 w 1658724"/>
              <a:gd name="connsiteY2" fmla="*/ 0 h 701747"/>
              <a:gd name="connsiteX3" fmla="*/ 1658724 w 1658724"/>
              <a:gd name="connsiteY3" fmla="*/ 70175 h 701747"/>
              <a:gd name="connsiteX4" fmla="*/ 1658724 w 1658724"/>
              <a:gd name="connsiteY4" fmla="*/ 631572 h 701747"/>
              <a:gd name="connsiteX5" fmla="*/ 1588549 w 1658724"/>
              <a:gd name="connsiteY5" fmla="*/ 701747 h 701747"/>
              <a:gd name="connsiteX6" fmla="*/ 70175 w 1658724"/>
              <a:gd name="connsiteY6" fmla="*/ 701747 h 701747"/>
              <a:gd name="connsiteX7" fmla="*/ 0 w 1658724"/>
              <a:gd name="connsiteY7" fmla="*/ 631572 h 701747"/>
              <a:gd name="connsiteX8" fmla="*/ 0 w 1658724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8724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588549" y="0"/>
                </a:lnTo>
                <a:cubicBezTo>
                  <a:pt x="1627306" y="0"/>
                  <a:pt x="1658724" y="31418"/>
                  <a:pt x="1658724" y="70175"/>
                </a:cubicBezTo>
                <a:lnTo>
                  <a:pt x="1658724" y="631572"/>
                </a:lnTo>
                <a:cubicBezTo>
                  <a:pt x="1658724" y="670329"/>
                  <a:pt x="1627306" y="701747"/>
                  <a:pt x="1588549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 eaLnBrk="1" latinLnBrk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Literature Analysis – Verifiable Computing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2BC2ADA2-7162-4023-945B-70D88F0A9FF0}"/>
              </a:ext>
            </a:extLst>
          </p:cNvPr>
          <p:cNvSpPr/>
          <p:nvPr/>
        </p:nvSpPr>
        <p:spPr>
          <a:xfrm>
            <a:off x="6303118" y="955317"/>
            <a:ext cx="5214325" cy="701747"/>
          </a:xfrm>
          <a:custGeom>
            <a:avLst/>
            <a:gdLst>
              <a:gd name="connsiteX0" fmla="*/ 0 w 5214325"/>
              <a:gd name="connsiteY0" fmla="*/ 70175 h 701747"/>
              <a:gd name="connsiteX1" fmla="*/ 70175 w 5214325"/>
              <a:gd name="connsiteY1" fmla="*/ 0 h 701747"/>
              <a:gd name="connsiteX2" fmla="*/ 5144150 w 5214325"/>
              <a:gd name="connsiteY2" fmla="*/ 0 h 701747"/>
              <a:gd name="connsiteX3" fmla="*/ 5214325 w 5214325"/>
              <a:gd name="connsiteY3" fmla="*/ 70175 h 701747"/>
              <a:gd name="connsiteX4" fmla="*/ 5214325 w 5214325"/>
              <a:gd name="connsiteY4" fmla="*/ 631572 h 701747"/>
              <a:gd name="connsiteX5" fmla="*/ 5144150 w 5214325"/>
              <a:gd name="connsiteY5" fmla="*/ 701747 h 701747"/>
              <a:gd name="connsiteX6" fmla="*/ 70175 w 5214325"/>
              <a:gd name="connsiteY6" fmla="*/ 701747 h 701747"/>
              <a:gd name="connsiteX7" fmla="*/ 0 w 5214325"/>
              <a:gd name="connsiteY7" fmla="*/ 631572 h 701747"/>
              <a:gd name="connsiteX8" fmla="*/ 0 w 5214325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14325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5144150" y="0"/>
                </a:lnTo>
                <a:cubicBezTo>
                  <a:pt x="5182907" y="0"/>
                  <a:pt x="5214325" y="31418"/>
                  <a:pt x="5214325" y="70175"/>
                </a:cubicBezTo>
                <a:lnTo>
                  <a:pt x="5214325" y="631572"/>
                </a:lnTo>
                <a:cubicBezTo>
                  <a:pt x="5214325" y="670329"/>
                  <a:pt x="5182907" y="701747"/>
                  <a:pt x="5144150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8663" tIns="138663" rIns="138663" bIns="138663" numCol="1" spcCol="1270" anchor="ctr" anchorCtr="0">
            <a:noAutofit/>
          </a:bodyPr>
          <a:lstStyle/>
          <a:p>
            <a:pPr marL="0" lvl="0" indent="0" algn="ctr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/>
              <a:t>Implementation</a:t>
            </a: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D06FCA71-BE93-4256-81B0-4B62B22374A0}"/>
              </a:ext>
            </a:extLst>
          </p:cNvPr>
          <p:cNvSpPr/>
          <p:nvPr/>
        </p:nvSpPr>
        <p:spPr>
          <a:xfrm>
            <a:off x="6303169" y="1802278"/>
            <a:ext cx="3858249" cy="701747"/>
          </a:xfrm>
          <a:custGeom>
            <a:avLst/>
            <a:gdLst>
              <a:gd name="connsiteX0" fmla="*/ 0 w 3858249"/>
              <a:gd name="connsiteY0" fmla="*/ 70175 h 701747"/>
              <a:gd name="connsiteX1" fmla="*/ 70175 w 3858249"/>
              <a:gd name="connsiteY1" fmla="*/ 0 h 701747"/>
              <a:gd name="connsiteX2" fmla="*/ 3788074 w 3858249"/>
              <a:gd name="connsiteY2" fmla="*/ 0 h 701747"/>
              <a:gd name="connsiteX3" fmla="*/ 3858249 w 3858249"/>
              <a:gd name="connsiteY3" fmla="*/ 70175 h 701747"/>
              <a:gd name="connsiteX4" fmla="*/ 3858249 w 3858249"/>
              <a:gd name="connsiteY4" fmla="*/ 631572 h 701747"/>
              <a:gd name="connsiteX5" fmla="*/ 3788074 w 3858249"/>
              <a:gd name="connsiteY5" fmla="*/ 701747 h 701747"/>
              <a:gd name="connsiteX6" fmla="*/ 70175 w 3858249"/>
              <a:gd name="connsiteY6" fmla="*/ 701747 h 701747"/>
              <a:gd name="connsiteX7" fmla="*/ 0 w 3858249"/>
              <a:gd name="connsiteY7" fmla="*/ 631572 h 701747"/>
              <a:gd name="connsiteX8" fmla="*/ 0 w 3858249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58249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3788074" y="0"/>
                </a:lnTo>
                <a:cubicBezTo>
                  <a:pt x="3826831" y="0"/>
                  <a:pt x="3858249" y="31418"/>
                  <a:pt x="3858249" y="70175"/>
                </a:cubicBezTo>
                <a:lnTo>
                  <a:pt x="3858249" y="631572"/>
                </a:lnTo>
                <a:cubicBezTo>
                  <a:pt x="3858249" y="670329"/>
                  <a:pt x="3826831" y="701747"/>
                  <a:pt x="3788074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Software Framework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30B96415-32D6-47B0-868C-5166ACC3FC02}"/>
              </a:ext>
            </a:extLst>
          </p:cNvPr>
          <p:cNvSpPr/>
          <p:nvPr/>
        </p:nvSpPr>
        <p:spPr>
          <a:xfrm>
            <a:off x="6303169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Use Case Model</a:t>
            </a: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421F3469-E3E5-47C7-91FA-5AA3CD0076B7}"/>
              </a:ext>
            </a:extLst>
          </p:cNvPr>
          <p:cNvSpPr/>
          <p:nvPr/>
        </p:nvSpPr>
        <p:spPr>
          <a:xfrm>
            <a:off x="7606751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Development Environment</a:t>
            </a: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93632C01-2AFC-4C1E-BD5F-C14A23345E18}"/>
              </a:ext>
            </a:extLst>
          </p:cNvPr>
          <p:cNvSpPr/>
          <p:nvPr/>
        </p:nvSpPr>
        <p:spPr>
          <a:xfrm>
            <a:off x="8910332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Algorithmic Implementation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32C5C695-A14D-4947-BDA2-22F3778576E0}"/>
              </a:ext>
            </a:extLst>
          </p:cNvPr>
          <p:cNvSpPr/>
          <p:nvPr/>
        </p:nvSpPr>
        <p:spPr>
          <a:xfrm>
            <a:off x="10266305" y="180227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703" tIns="77703" rIns="77703" bIns="77703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Performance Evaluation</a:t>
            </a: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443666FF-CF97-43C0-8079-185B48491028}"/>
              </a:ext>
            </a:extLst>
          </p:cNvPr>
          <p:cNvSpPr/>
          <p:nvPr/>
        </p:nvSpPr>
        <p:spPr>
          <a:xfrm>
            <a:off x="10266305" y="2649238"/>
            <a:ext cx="1251086" cy="701747"/>
          </a:xfrm>
          <a:custGeom>
            <a:avLst/>
            <a:gdLst>
              <a:gd name="connsiteX0" fmla="*/ 0 w 1251086"/>
              <a:gd name="connsiteY0" fmla="*/ 70175 h 701747"/>
              <a:gd name="connsiteX1" fmla="*/ 70175 w 1251086"/>
              <a:gd name="connsiteY1" fmla="*/ 0 h 701747"/>
              <a:gd name="connsiteX2" fmla="*/ 1180911 w 1251086"/>
              <a:gd name="connsiteY2" fmla="*/ 0 h 701747"/>
              <a:gd name="connsiteX3" fmla="*/ 1251086 w 1251086"/>
              <a:gd name="connsiteY3" fmla="*/ 70175 h 701747"/>
              <a:gd name="connsiteX4" fmla="*/ 1251086 w 1251086"/>
              <a:gd name="connsiteY4" fmla="*/ 631572 h 701747"/>
              <a:gd name="connsiteX5" fmla="*/ 1180911 w 1251086"/>
              <a:gd name="connsiteY5" fmla="*/ 701747 h 701747"/>
              <a:gd name="connsiteX6" fmla="*/ 70175 w 1251086"/>
              <a:gd name="connsiteY6" fmla="*/ 701747 h 701747"/>
              <a:gd name="connsiteX7" fmla="*/ 0 w 1251086"/>
              <a:gd name="connsiteY7" fmla="*/ 631572 h 701747"/>
              <a:gd name="connsiteX8" fmla="*/ 0 w 1251086"/>
              <a:gd name="connsiteY8" fmla="*/ 70175 h 70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1086" h="701747">
                <a:moveTo>
                  <a:pt x="0" y="70175"/>
                </a:moveTo>
                <a:cubicBezTo>
                  <a:pt x="0" y="31418"/>
                  <a:pt x="31418" y="0"/>
                  <a:pt x="70175" y="0"/>
                </a:cubicBezTo>
                <a:lnTo>
                  <a:pt x="1180911" y="0"/>
                </a:lnTo>
                <a:cubicBezTo>
                  <a:pt x="1219668" y="0"/>
                  <a:pt x="1251086" y="31418"/>
                  <a:pt x="1251086" y="70175"/>
                </a:cubicBezTo>
                <a:lnTo>
                  <a:pt x="1251086" y="631572"/>
                </a:lnTo>
                <a:cubicBezTo>
                  <a:pt x="1251086" y="670329"/>
                  <a:pt x="1219668" y="701747"/>
                  <a:pt x="1180911" y="701747"/>
                </a:cubicBezTo>
                <a:lnTo>
                  <a:pt x="70175" y="701747"/>
                </a:lnTo>
                <a:cubicBezTo>
                  <a:pt x="31418" y="701747"/>
                  <a:pt x="0" y="670329"/>
                  <a:pt x="0" y="631572"/>
                </a:cubicBezTo>
                <a:lnTo>
                  <a:pt x="0" y="70175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273" tIns="66273" rIns="66273" bIns="66273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Framework </a:t>
            </a:r>
            <a:br>
              <a:rPr lang="en-US" sz="1200" kern="1200" dirty="0"/>
            </a:br>
            <a:r>
              <a:rPr lang="en-US" sz="1200" kern="1200" dirty="0"/>
              <a:t>Test Run</a:t>
            </a: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CBC426AC-7E5B-4360-B597-619AAA7C3570}"/>
              </a:ext>
            </a:extLst>
          </p:cNvPr>
          <p:cNvSpPr/>
          <p:nvPr/>
        </p:nvSpPr>
        <p:spPr>
          <a:xfrm>
            <a:off x="662156" y="953537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970" tIns="140970" rIns="140970" bIns="140970" numCol="1" spcCol="1270" anchor="ctr" anchorCtr="0">
            <a:noAutofit/>
          </a:bodyPr>
          <a:lstStyle/>
          <a:p>
            <a:pPr marL="0" lvl="0" indent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700" kern="1200" dirty="0"/>
              <a:t>Goals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BC51D7D6-B012-44FA-9EBB-949854BC518C}"/>
              </a:ext>
            </a:extLst>
          </p:cNvPr>
          <p:cNvSpPr/>
          <p:nvPr/>
        </p:nvSpPr>
        <p:spPr>
          <a:xfrm>
            <a:off x="662156" y="1763031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99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00" tIns="114300" rIns="114300" bIns="114300" numCol="1" spcCol="1270" anchor="ctr" anchorCtr="0">
            <a:noAutofit/>
          </a:bodyPr>
          <a:lstStyle/>
          <a:p>
            <a:pPr marL="0" lvl="0" indent="0" algn="ctr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000" kern="1200" dirty="0"/>
              <a:t>Artifacts</a:t>
            </a: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81399F6B-3202-457C-A701-401AA820FDF9}"/>
              </a:ext>
            </a:extLst>
          </p:cNvPr>
          <p:cNvSpPr/>
          <p:nvPr/>
        </p:nvSpPr>
        <p:spPr>
          <a:xfrm>
            <a:off x="662156" y="2572525"/>
            <a:ext cx="1788579" cy="780240"/>
          </a:xfrm>
          <a:custGeom>
            <a:avLst/>
            <a:gdLst>
              <a:gd name="connsiteX0" fmla="*/ 0 w 1604796"/>
              <a:gd name="connsiteY0" fmla="*/ 0 h 780240"/>
              <a:gd name="connsiteX1" fmla="*/ 1604796 w 1604796"/>
              <a:gd name="connsiteY1" fmla="*/ 0 h 780240"/>
              <a:gd name="connsiteX2" fmla="*/ 1604796 w 1604796"/>
              <a:gd name="connsiteY2" fmla="*/ 780240 h 780240"/>
              <a:gd name="connsiteX3" fmla="*/ 0 w 1604796"/>
              <a:gd name="connsiteY3" fmla="*/ 780240 h 780240"/>
              <a:gd name="connsiteX4" fmla="*/ 0 w 1604796"/>
              <a:gd name="connsiteY4" fmla="*/ 0 h 78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796" h="780240">
                <a:moveTo>
                  <a:pt x="0" y="0"/>
                </a:moveTo>
                <a:lnTo>
                  <a:pt x="1604796" y="0"/>
                </a:lnTo>
                <a:lnTo>
                  <a:pt x="1604796" y="780240"/>
                </a:lnTo>
                <a:lnTo>
                  <a:pt x="0" y="78024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8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00" tIns="114300" rIns="114300" bIns="114300" numCol="1" spcCol="1270" anchor="ctr" anchorCtr="0">
            <a:noAutofit/>
          </a:bodyPr>
          <a:lstStyle/>
          <a:p>
            <a:pPr marL="0" lvl="0" indent="0" algn="ctr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000" kern="1200" dirty="0"/>
              <a:t>Task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7E5CEB-BA7D-4BEC-B68E-61BEE0C3B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D0BD19-6919-43FC-B952-25494EE65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EF63FB-BFFA-4475-A197-6197B505E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A0AA17F-C211-4745-ACE4-C40B2577A820}"/>
              </a:ext>
            </a:extLst>
          </p:cNvPr>
          <p:cNvGrpSpPr/>
          <p:nvPr/>
        </p:nvGrpSpPr>
        <p:grpSpPr>
          <a:xfrm>
            <a:off x="468128" y="3706154"/>
            <a:ext cx="11055567" cy="769441"/>
            <a:chOff x="468128" y="3706154"/>
            <a:chExt cx="11055567" cy="769441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72E0EA5-A666-4280-B9A6-90BEF2915A63}"/>
                </a:ext>
              </a:extLst>
            </p:cNvPr>
            <p:cNvSpPr/>
            <p:nvPr/>
          </p:nvSpPr>
          <p:spPr>
            <a:xfrm>
              <a:off x="661373" y="3810000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What are the requirements and challenges of </a:t>
              </a:r>
              <a:br>
                <a:rPr lang="en-US" kern="1200" dirty="0"/>
              </a:br>
              <a:r>
                <a:rPr lang="en-US" kern="1200" dirty="0"/>
                <a:t>common </a:t>
              </a:r>
              <a:r>
                <a:rPr lang="en-US" kern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blockchain</a:t>
              </a:r>
              <a:r>
                <a:rPr lang="en-US" kern="1200" dirty="0"/>
                <a:t> applications in the energy industry?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447FAC7-6293-44EA-AF30-EC3C084DE172}"/>
                </a:ext>
              </a:extLst>
            </p:cNvPr>
            <p:cNvSpPr/>
            <p:nvPr/>
          </p:nvSpPr>
          <p:spPr>
            <a:xfrm>
              <a:off x="468128" y="3706154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1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CF8E6DE-51E8-4F88-970A-1033BAC25F2E}"/>
              </a:ext>
            </a:extLst>
          </p:cNvPr>
          <p:cNvGrpSpPr/>
          <p:nvPr/>
        </p:nvGrpSpPr>
        <p:grpSpPr>
          <a:xfrm>
            <a:off x="468128" y="4390218"/>
            <a:ext cx="11055567" cy="769441"/>
            <a:chOff x="468128" y="4390218"/>
            <a:chExt cx="11055567" cy="76944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11B51EB-9EAB-4DB8-A107-3F3CA2540787}"/>
                </a:ext>
              </a:extLst>
            </p:cNvPr>
            <p:cNvSpPr/>
            <p:nvPr/>
          </p:nvSpPr>
          <p:spPr>
            <a:xfrm>
              <a:off x="661373" y="4509521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marR="0" lvl="0" indent="0" defTabSz="1022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can the use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rease </a:t>
              </a:r>
              <a:b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security and reliability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energy-related blockchain applications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8B5B7FC-767E-47FC-B863-40DC304CE385}"/>
                </a:ext>
              </a:extLst>
            </p:cNvPr>
            <p:cNvSpPr/>
            <p:nvPr/>
          </p:nvSpPr>
          <p:spPr>
            <a:xfrm>
              <a:off x="468128" y="4390218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2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05F28D4-3682-4F11-B696-B9EA291CA633}"/>
              </a:ext>
            </a:extLst>
          </p:cNvPr>
          <p:cNvGrpSpPr/>
          <p:nvPr/>
        </p:nvGrpSpPr>
        <p:grpSpPr>
          <a:xfrm>
            <a:off x="468128" y="5105195"/>
            <a:ext cx="11055567" cy="769441"/>
            <a:chOff x="468128" y="5105195"/>
            <a:chExt cx="11055567" cy="769441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F1F2EE7-52B6-48DD-A842-5FFA13E57C64}"/>
                </a:ext>
              </a:extLst>
            </p:cNvPr>
            <p:cNvSpPr/>
            <p:nvPr/>
          </p:nvSpPr>
          <p:spPr>
            <a:xfrm>
              <a:off x="661373" y="5209042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1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How do different blockchain-based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techniques</a:t>
              </a:r>
              <a:r>
                <a:rPr lang="en-US" kern="1200" dirty="0"/>
                <a:t> compare </a:t>
              </a:r>
              <a:br>
                <a:rPr lang="en-US" kern="1200" dirty="0"/>
              </a:br>
              <a:r>
                <a:rPr lang="en-US" kern="1200" dirty="0"/>
                <a:t>in terms of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performance, security and usability</a:t>
              </a:r>
              <a:r>
                <a:rPr lang="en-US" kern="1200" dirty="0"/>
                <a:t>?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EBEB66A-2EC2-45E5-A346-D69A7E64963F}"/>
                </a:ext>
              </a:extLst>
            </p:cNvPr>
            <p:cNvSpPr/>
            <p:nvPr/>
          </p:nvSpPr>
          <p:spPr>
            <a:xfrm>
              <a:off x="468128" y="5105195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3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6344693-6971-4460-AD89-CA6332DE7F68}"/>
              </a:ext>
            </a:extLst>
          </p:cNvPr>
          <p:cNvGrpSpPr/>
          <p:nvPr/>
        </p:nvGrpSpPr>
        <p:grpSpPr>
          <a:xfrm>
            <a:off x="468128" y="5799635"/>
            <a:ext cx="11057122" cy="769441"/>
            <a:chOff x="468128" y="5799635"/>
            <a:chExt cx="11057122" cy="76944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5D0DEF0-CDBF-4A00-AD1C-E7E8749FA305}"/>
                </a:ext>
              </a:extLst>
            </p:cNvPr>
            <p:cNvSpPr/>
            <p:nvPr/>
          </p:nvSpPr>
          <p:spPr>
            <a:xfrm>
              <a:off x="662928" y="5908563"/>
              <a:ext cx="10862322" cy="56174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20240" tIns="87631" rIns="163576" bIns="87630" numCol="1" spcCol="1270" anchor="ctr" anchorCtr="0">
              <a:noAutofit/>
            </a:bodyPr>
            <a:lstStyle/>
            <a:p>
              <a:pPr marL="0" lvl="0" indent="0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Which measures are required to prototypically implement </a:t>
              </a:r>
              <a:br>
                <a:rPr lang="en-US" kern="1200" dirty="0"/>
              </a:br>
              <a:r>
                <a:rPr lang="en-US" kern="1200" dirty="0"/>
                <a:t>a functioning infrastructure for solving blockchain-aided </a:t>
              </a:r>
              <a:r>
                <a:rPr lang="en-US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ations</a:t>
              </a:r>
              <a:r>
                <a:rPr lang="en-US" kern="1200" dirty="0"/>
                <a:t>?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04CFD43-9D7F-41D2-933E-300BD906789B}"/>
                </a:ext>
              </a:extLst>
            </p:cNvPr>
            <p:cNvSpPr/>
            <p:nvPr/>
          </p:nvSpPr>
          <p:spPr>
            <a:xfrm>
              <a:off x="468128" y="5799635"/>
              <a:ext cx="19928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4400" b="1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</a:rPr>
                <a:t>RQ#4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D3E7D0B7-1F99-445C-B516-E0DC33FCE42A}"/>
              </a:ext>
            </a:extLst>
          </p:cNvPr>
          <p:cNvSpPr/>
          <p:nvPr/>
        </p:nvSpPr>
        <p:spPr>
          <a:xfrm>
            <a:off x="3490643" y="1502449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1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56610B5-03C4-4DB2-BABB-067DEC0EAA22}"/>
              </a:ext>
            </a:extLst>
          </p:cNvPr>
          <p:cNvSpPr/>
          <p:nvPr/>
        </p:nvSpPr>
        <p:spPr>
          <a:xfrm>
            <a:off x="3891068" y="1497374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/2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B660037-68AF-465B-97ED-DAFEF6988C93}"/>
              </a:ext>
            </a:extLst>
          </p:cNvPr>
          <p:cNvSpPr/>
          <p:nvPr/>
        </p:nvSpPr>
        <p:spPr>
          <a:xfrm>
            <a:off x="5486642" y="1502449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3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78FC737-A1E6-4F76-82A7-946A6F358BDF}"/>
              </a:ext>
            </a:extLst>
          </p:cNvPr>
          <p:cNvSpPr/>
          <p:nvPr/>
        </p:nvSpPr>
        <p:spPr>
          <a:xfrm>
            <a:off x="10920536" y="698952"/>
            <a:ext cx="81304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#4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8804883-6F6B-4002-8D30-49F10DFB4D57}"/>
              </a:ext>
            </a:extLst>
          </p:cNvPr>
          <p:cNvGrpSpPr/>
          <p:nvPr/>
        </p:nvGrpSpPr>
        <p:grpSpPr>
          <a:xfrm>
            <a:off x="3306528" y="1965168"/>
            <a:ext cx="380586" cy="377362"/>
            <a:chOff x="2916578" y="74181"/>
            <a:chExt cx="894594" cy="887016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572F307-45E2-4005-B663-74FAFC541A1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0" name="Graphic 3" descr="Checkmark">
              <a:extLst>
                <a:ext uri="{FF2B5EF4-FFF2-40B4-BE49-F238E27FC236}">
                  <a16:creationId xmlns:a16="http://schemas.microsoft.com/office/drawing/2014/main" id="{68E3C887-B310-4B84-9CC0-3548756A7C3A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698AA48-1722-47FE-9463-F6A424A82239}"/>
              </a:ext>
            </a:extLst>
          </p:cNvPr>
          <p:cNvGrpSpPr/>
          <p:nvPr/>
        </p:nvGrpSpPr>
        <p:grpSpPr>
          <a:xfrm>
            <a:off x="3306528" y="2816517"/>
            <a:ext cx="380586" cy="377362"/>
            <a:chOff x="2916578" y="74181"/>
            <a:chExt cx="894594" cy="887016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E612E17C-602D-4085-8BFA-2B8398BE5503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3" name="Graphic 3" descr="Checkmark">
              <a:extLst>
                <a:ext uri="{FF2B5EF4-FFF2-40B4-BE49-F238E27FC236}">
                  <a16:creationId xmlns:a16="http://schemas.microsoft.com/office/drawing/2014/main" id="{BA241385-E23B-4E9C-AD65-44131FBB4DE8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42F7E0A-D828-4878-9367-5ACBE9D9EE8A}"/>
              </a:ext>
            </a:extLst>
          </p:cNvPr>
          <p:cNvGrpSpPr/>
          <p:nvPr/>
        </p:nvGrpSpPr>
        <p:grpSpPr>
          <a:xfrm>
            <a:off x="5068965" y="1965168"/>
            <a:ext cx="380586" cy="377362"/>
            <a:chOff x="2916578" y="74181"/>
            <a:chExt cx="894594" cy="887016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7AC26BC-1456-479F-AF9A-C491E877272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6" name="Graphic 3" descr="Checkmark">
              <a:extLst>
                <a:ext uri="{FF2B5EF4-FFF2-40B4-BE49-F238E27FC236}">
                  <a16:creationId xmlns:a16="http://schemas.microsoft.com/office/drawing/2014/main" id="{D8E18247-60E3-4210-9BBD-05DE29FE28E5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B2A7EB3-30BD-4BE0-8F01-857FA45B2860}"/>
              </a:ext>
            </a:extLst>
          </p:cNvPr>
          <p:cNvGrpSpPr/>
          <p:nvPr/>
        </p:nvGrpSpPr>
        <p:grpSpPr>
          <a:xfrm>
            <a:off x="5070138" y="2811430"/>
            <a:ext cx="380586" cy="377362"/>
            <a:chOff x="2916578" y="74181"/>
            <a:chExt cx="894594" cy="887016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582A477-80EF-49DB-99A2-8933A5758D3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0" name="Graphic 3" descr="Checkmark">
              <a:extLst>
                <a:ext uri="{FF2B5EF4-FFF2-40B4-BE49-F238E27FC236}">
                  <a16:creationId xmlns:a16="http://schemas.microsoft.com/office/drawing/2014/main" id="{0A0FA1FF-51F2-4818-9C6F-2C9B632ACEEC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DEEC74F-5EF7-4B34-830F-06F0FDC30B6A}"/>
              </a:ext>
            </a:extLst>
          </p:cNvPr>
          <p:cNvGrpSpPr/>
          <p:nvPr/>
        </p:nvGrpSpPr>
        <p:grpSpPr>
          <a:xfrm>
            <a:off x="8042000" y="1965168"/>
            <a:ext cx="380586" cy="377362"/>
            <a:chOff x="2916578" y="74181"/>
            <a:chExt cx="894594" cy="887016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BE61655-CF5B-4A5E-8C90-DEFF052C0852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4" name="Graphic 3" descr="Checkmark">
              <a:extLst>
                <a:ext uri="{FF2B5EF4-FFF2-40B4-BE49-F238E27FC236}">
                  <a16:creationId xmlns:a16="http://schemas.microsoft.com/office/drawing/2014/main" id="{88D47849-4E32-4E08-BF11-12F7A043784F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A6E7A6E-F618-4D05-9A32-4DC6F97D82A5}"/>
              </a:ext>
            </a:extLst>
          </p:cNvPr>
          <p:cNvGrpSpPr/>
          <p:nvPr/>
        </p:nvGrpSpPr>
        <p:grpSpPr>
          <a:xfrm>
            <a:off x="6738419" y="2811430"/>
            <a:ext cx="380586" cy="377362"/>
            <a:chOff x="2916578" y="74181"/>
            <a:chExt cx="894594" cy="887016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0DD7853-05AD-4133-8B2E-DBF35AE8CDED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7" name="Graphic 3" descr="Checkmark">
              <a:extLst>
                <a:ext uri="{FF2B5EF4-FFF2-40B4-BE49-F238E27FC236}">
                  <a16:creationId xmlns:a16="http://schemas.microsoft.com/office/drawing/2014/main" id="{7D399864-382D-491A-8519-D1A0CA58655C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CD19B35-1B04-4107-B1EA-1BEBC3081E41}"/>
              </a:ext>
            </a:extLst>
          </p:cNvPr>
          <p:cNvGrpSpPr/>
          <p:nvPr/>
        </p:nvGrpSpPr>
        <p:grpSpPr>
          <a:xfrm>
            <a:off x="8041999" y="2811430"/>
            <a:ext cx="380586" cy="377362"/>
            <a:chOff x="2916578" y="74181"/>
            <a:chExt cx="894594" cy="887016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9634AC0-2383-40BC-BD69-61FE0A4E46F1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76" name="Graphic 3" descr="Checkmark">
              <a:extLst>
                <a:ext uri="{FF2B5EF4-FFF2-40B4-BE49-F238E27FC236}">
                  <a16:creationId xmlns:a16="http://schemas.microsoft.com/office/drawing/2014/main" id="{AB2F1C14-E51C-4BD5-BEBA-AE60BFE98DB9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0F52CFD-0027-4689-A688-79C176370C68}"/>
              </a:ext>
            </a:extLst>
          </p:cNvPr>
          <p:cNvGrpSpPr/>
          <p:nvPr/>
        </p:nvGrpSpPr>
        <p:grpSpPr>
          <a:xfrm>
            <a:off x="9334248" y="2816155"/>
            <a:ext cx="380586" cy="377362"/>
            <a:chOff x="2916578" y="74181"/>
            <a:chExt cx="894594" cy="887016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2BF846FA-06BE-483E-8F49-6125A6AFC817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6" name="Graphic 3" descr="Checkmark">
              <a:extLst>
                <a:ext uri="{FF2B5EF4-FFF2-40B4-BE49-F238E27FC236}">
                  <a16:creationId xmlns:a16="http://schemas.microsoft.com/office/drawing/2014/main" id="{5C43CF68-2517-4C8F-8080-045FE115F8EC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F212E95-F25F-4663-AA60-82FF2F20581B}"/>
              </a:ext>
            </a:extLst>
          </p:cNvPr>
          <p:cNvGrpSpPr/>
          <p:nvPr/>
        </p:nvGrpSpPr>
        <p:grpSpPr>
          <a:xfrm>
            <a:off x="10701554" y="2813663"/>
            <a:ext cx="380586" cy="377362"/>
            <a:chOff x="2916578" y="74181"/>
            <a:chExt cx="894594" cy="887016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2AA221F-7711-4565-9A4C-02A8C8292AAA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9" name="Graphic 3" descr="Checkmark">
              <a:extLst>
                <a:ext uri="{FF2B5EF4-FFF2-40B4-BE49-F238E27FC236}">
                  <a16:creationId xmlns:a16="http://schemas.microsoft.com/office/drawing/2014/main" id="{2AB8436A-BF3A-40E9-8912-4EC252C3D68E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CDCDC574-5DD8-42DD-846E-D80555C5FCBE}"/>
              </a:ext>
            </a:extLst>
          </p:cNvPr>
          <p:cNvGrpSpPr/>
          <p:nvPr/>
        </p:nvGrpSpPr>
        <p:grpSpPr>
          <a:xfrm>
            <a:off x="10701555" y="1965168"/>
            <a:ext cx="380586" cy="377362"/>
            <a:chOff x="2916578" y="74181"/>
            <a:chExt cx="894594" cy="887016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C48B5B49-04DB-46F0-8481-00AC196BB050}"/>
                </a:ext>
              </a:extLst>
            </p:cNvPr>
            <p:cNvSpPr/>
            <p:nvPr/>
          </p:nvSpPr>
          <p:spPr bwMode="auto">
            <a:xfrm>
              <a:off x="2916578" y="74181"/>
              <a:ext cx="894594" cy="88701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02" name="Graphic 3" descr="Checkmark">
              <a:extLst>
                <a:ext uri="{FF2B5EF4-FFF2-40B4-BE49-F238E27FC236}">
                  <a16:creationId xmlns:a16="http://schemas.microsoft.com/office/drawing/2014/main" id="{EA38A073-D424-44A7-93AA-EB4C97A5F209}"/>
                </a:ext>
              </a:extLst>
            </p:cNvPr>
            <p:cNvSpPr/>
            <p:nvPr/>
          </p:nvSpPr>
          <p:spPr>
            <a:xfrm>
              <a:off x="2990403" y="279700"/>
              <a:ext cx="746942" cy="524636"/>
            </a:xfrm>
            <a:custGeom>
              <a:avLst/>
              <a:gdLst>
                <a:gd name="connsiteX0" fmla="*/ 565369 w 619692"/>
                <a:gd name="connsiteY0" fmla="*/ 0 h 435259"/>
                <a:gd name="connsiteX1" fmla="*/ 221989 w 619692"/>
                <a:gd name="connsiteY1" fmla="*/ 324601 h 435259"/>
                <a:gd name="connsiteX2" fmla="*/ 57006 w 619692"/>
                <a:gd name="connsiteY2" fmla="*/ 155594 h 435259"/>
                <a:gd name="connsiteX3" fmla="*/ 0 w 619692"/>
                <a:gd name="connsiteY3" fmla="*/ 209917 h 435259"/>
                <a:gd name="connsiteX4" fmla="*/ 219307 w 619692"/>
                <a:gd name="connsiteY4" fmla="*/ 435260 h 435259"/>
                <a:gd name="connsiteX5" fmla="*/ 276984 w 619692"/>
                <a:gd name="connsiteY5" fmla="*/ 381607 h 435259"/>
                <a:gd name="connsiteX6" fmla="*/ 619692 w 619692"/>
                <a:gd name="connsiteY6" fmla="*/ 56336 h 4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692" h="435259">
                  <a:moveTo>
                    <a:pt x="565369" y="0"/>
                  </a:moveTo>
                  <a:lnTo>
                    <a:pt x="221989" y="324601"/>
                  </a:lnTo>
                  <a:lnTo>
                    <a:pt x="57006" y="155594"/>
                  </a:lnTo>
                  <a:lnTo>
                    <a:pt x="0" y="209917"/>
                  </a:lnTo>
                  <a:lnTo>
                    <a:pt x="219307" y="435260"/>
                  </a:lnTo>
                  <a:lnTo>
                    <a:pt x="276984" y="381607"/>
                  </a:lnTo>
                  <a:lnTo>
                    <a:pt x="619692" y="5633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648" cap="flat">
              <a:solidFill>
                <a:srgbClr val="00B0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4875580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9393ED-835C-4FD5-A9EB-93FBA0BBA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FCA72-3C50-42AC-ABF4-0DE8703B5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1678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7E4803-9D5B-4650-868D-2A0133204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42BFE6-7429-4FD3-9261-26DB157AB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6718309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8F8340C-9DB5-470F-8986-C6F6931F9589}"/>
              </a:ext>
            </a:extLst>
          </p:cNvPr>
          <p:cNvSpPr/>
          <p:nvPr/>
        </p:nvSpPr>
        <p:spPr bwMode="auto">
          <a:xfrm>
            <a:off x="6389639" y="2438400"/>
            <a:ext cx="5183372" cy="2971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CC90153-1596-4C83-9571-E0224FAAECE2}"/>
              </a:ext>
            </a:extLst>
          </p:cNvPr>
          <p:cNvSpPr/>
          <p:nvPr/>
        </p:nvSpPr>
        <p:spPr bwMode="auto">
          <a:xfrm>
            <a:off x="618990" y="2438400"/>
            <a:ext cx="5183372" cy="2971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84CB2D-D831-4C40-ADE3-B09D7D1C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ations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73D3B32-7EDD-4B69-944D-D362AD64D639}"/>
              </a:ext>
            </a:extLst>
          </p:cNvPr>
          <p:cNvSpPr/>
          <p:nvPr/>
        </p:nvSpPr>
        <p:spPr>
          <a:xfrm>
            <a:off x="715575" y="2519365"/>
            <a:ext cx="4975548" cy="582986"/>
          </a:xfrm>
          <a:custGeom>
            <a:avLst/>
            <a:gdLst>
              <a:gd name="connsiteX0" fmla="*/ 0 w 5485866"/>
              <a:gd name="connsiteY0" fmla="*/ 64278 h 642780"/>
              <a:gd name="connsiteX1" fmla="*/ 64278 w 5485866"/>
              <a:gd name="connsiteY1" fmla="*/ 0 h 642780"/>
              <a:gd name="connsiteX2" fmla="*/ 5421588 w 5485866"/>
              <a:gd name="connsiteY2" fmla="*/ 0 h 642780"/>
              <a:gd name="connsiteX3" fmla="*/ 5485866 w 5485866"/>
              <a:gd name="connsiteY3" fmla="*/ 64278 h 642780"/>
              <a:gd name="connsiteX4" fmla="*/ 5485866 w 5485866"/>
              <a:gd name="connsiteY4" fmla="*/ 578502 h 642780"/>
              <a:gd name="connsiteX5" fmla="*/ 5421588 w 5485866"/>
              <a:gd name="connsiteY5" fmla="*/ 642780 h 642780"/>
              <a:gd name="connsiteX6" fmla="*/ 64278 w 5485866"/>
              <a:gd name="connsiteY6" fmla="*/ 642780 h 642780"/>
              <a:gd name="connsiteX7" fmla="*/ 0 w 5485866"/>
              <a:gd name="connsiteY7" fmla="*/ 578502 h 642780"/>
              <a:gd name="connsiteX8" fmla="*/ 0 w 5485866"/>
              <a:gd name="connsiteY8" fmla="*/ 64278 h 64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85866" h="642780">
                <a:moveTo>
                  <a:pt x="0" y="64278"/>
                </a:moveTo>
                <a:cubicBezTo>
                  <a:pt x="0" y="28778"/>
                  <a:pt x="28778" y="0"/>
                  <a:pt x="64278" y="0"/>
                </a:cubicBezTo>
                <a:lnTo>
                  <a:pt x="5421588" y="0"/>
                </a:lnTo>
                <a:cubicBezTo>
                  <a:pt x="5457088" y="0"/>
                  <a:pt x="5485866" y="28778"/>
                  <a:pt x="5485866" y="64278"/>
                </a:cubicBezTo>
                <a:lnTo>
                  <a:pt x="5485866" y="578502"/>
                </a:lnTo>
                <a:cubicBezTo>
                  <a:pt x="5485866" y="614002"/>
                  <a:pt x="5457088" y="642780"/>
                  <a:pt x="5421588" y="642780"/>
                </a:cubicBezTo>
                <a:lnTo>
                  <a:pt x="64278" y="642780"/>
                </a:lnTo>
                <a:cubicBezTo>
                  <a:pt x="28778" y="642780"/>
                  <a:pt x="0" y="614002"/>
                  <a:pt x="0" y="578502"/>
                </a:cubicBezTo>
                <a:lnTo>
                  <a:pt x="0" y="64278"/>
                </a:lnTo>
                <a:close/>
              </a:path>
            </a:pathLst>
          </a:cu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spcFirstLastPara="0" vert="horz" wrap="square" lIns="91216" tIns="67086" rIns="91216" bIns="67086" numCol="1" spcCol="1270" anchor="ctr" anchorCtr="0">
            <a:noAutofit/>
          </a:bodyPr>
          <a:lstStyle/>
          <a:p>
            <a:pPr marL="0" lvl="0" indent="0" algn="ctr" defTabSz="1689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200" kern="1200" baseline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</a:t>
            </a:r>
            <a:endParaRPr lang="en-US" sz="32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FC2C95B-3C6F-43D3-B162-ED61F74B7563}"/>
              </a:ext>
            </a:extLst>
          </p:cNvPr>
          <p:cNvGrpSpPr/>
          <p:nvPr/>
        </p:nvGrpSpPr>
        <p:grpSpPr>
          <a:xfrm>
            <a:off x="715575" y="3277846"/>
            <a:ext cx="4975550" cy="582986"/>
            <a:chOff x="335840" y="3019349"/>
            <a:chExt cx="5485867" cy="642780"/>
          </a:xfrm>
        </p:grpSpPr>
        <p:sp>
          <p:nvSpPr>
            <p:cNvPr id="10" name="Minus Sign 9">
              <a:extLst>
                <a:ext uri="{FF2B5EF4-FFF2-40B4-BE49-F238E27FC236}">
                  <a16:creationId xmlns:a16="http://schemas.microsoft.com/office/drawing/2014/main" id="{DD82DC5E-3971-4EF5-BA0A-2865EEE314BF}"/>
                </a:ext>
              </a:extLst>
            </p:cNvPr>
            <p:cNvSpPr/>
            <p:nvPr/>
          </p:nvSpPr>
          <p:spPr>
            <a:xfrm>
              <a:off x="335840" y="3107116"/>
              <a:ext cx="505436" cy="467246"/>
            </a:xfrm>
            <a:prstGeom prst="mathMinus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81D860E-2994-4785-BD7C-C1C9253C709B}"/>
                </a:ext>
              </a:extLst>
            </p:cNvPr>
            <p:cNvSpPr/>
            <p:nvPr/>
          </p:nvSpPr>
          <p:spPr>
            <a:xfrm>
              <a:off x="895739" y="3019349"/>
              <a:ext cx="4925968" cy="642780"/>
            </a:xfrm>
            <a:custGeom>
              <a:avLst/>
              <a:gdLst>
                <a:gd name="connsiteX0" fmla="*/ 0 w 4804519"/>
                <a:gd name="connsiteY0" fmla="*/ 107151 h 642780"/>
                <a:gd name="connsiteX1" fmla="*/ 107151 w 4804519"/>
                <a:gd name="connsiteY1" fmla="*/ 0 h 642780"/>
                <a:gd name="connsiteX2" fmla="*/ 4697368 w 4804519"/>
                <a:gd name="connsiteY2" fmla="*/ 0 h 642780"/>
                <a:gd name="connsiteX3" fmla="*/ 4804519 w 4804519"/>
                <a:gd name="connsiteY3" fmla="*/ 107151 h 642780"/>
                <a:gd name="connsiteX4" fmla="*/ 4804519 w 4804519"/>
                <a:gd name="connsiteY4" fmla="*/ 535629 h 642780"/>
                <a:gd name="connsiteX5" fmla="*/ 4697368 w 4804519"/>
                <a:gd name="connsiteY5" fmla="*/ 642780 h 642780"/>
                <a:gd name="connsiteX6" fmla="*/ 107151 w 4804519"/>
                <a:gd name="connsiteY6" fmla="*/ 642780 h 642780"/>
                <a:gd name="connsiteX7" fmla="*/ 0 w 4804519"/>
                <a:gd name="connsiteY7" fmla="*/ 535629 h 642780"/>
                <a:gd name="connsiteX8" fmla="*/ 0 w 4804519"/>
                <a:gd name="connsiteY8" fmla="*/ 107151 h 64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519" h="642780">
                  <a:moveTo>
                    <a:pt x="0" y="107151"/>
                  </a:moveTo>
                  <a:cubicBezTo>
                    <a:pt x="0" y="47973"/>
                    <a:pt x="47973" y="0"/>
                    <a:pt x="107151" y="0"/>
                  </a:cubicBezTo>
                  <a:lnTo>
                    <a:pt x="4697368" y="0"/>
                  </a:lnTo>
                  <a:cubicBezTo>
                    <a:pt x="4756546" y="0"/>
                    <a:pt x="4804519" y="47973"/>
                    <a:pt x="4804519" y="107151"/>
                  </a:cubicBezTo>
                  <a:lnTo>
                    <a:pt x="4804519" y="535629"/>
                  </a:lnTo>
                  <a:cubicBezTo>
                    <a:pt x="4804519" y="594807"/>
                    <a:pt x="4756546" y="642780"/>
                    <a:pt x="4697368" y="642780"/>
                  </a:cubicBezTo>
                  <a:lnTo>
                    <a:pt x="107151" y="642780"/>
                  </a:lnTo>
                  <a:cubicBezTo>
                    <a:pt x="47973" y="642780"/>
                    <a:pt x="0" y="594807"/>
                    <a:pt x="0" y="535629"/>
                  </a:cubicBezTo>
                  <a:lnTo>
                    <a:pt x="0" y="107151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30952" tIns="130952" rIns="130952" bIns="130952" numCol="1" spcCol="1270" anchor="ctr" anchorCtr="0">
              <a:noAutofit/>
            </a:bodyPr>
            <a:lstStyle/>
            <a:p>
              <a:pPr marL="0" lvl="0" indent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mpilation does not scale well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0228FF7-FA83-465D-93B2-0B473BC56C0C}"/>
              </a:ext>
            </a:extLst>
          </p:cNvPr>
          <p:cNvGrpSpPr/>
          <p:nvPr/>
        </p:nvGrpSpPr>
        <p:grpSpPr>
          <a:xfrm>
            <a:off x="715575" y="3997760"/>
            <a:ext cx="4975550" cy="582986"/>
            <a:chOff x="335840" y="3739263"/>
            <a:chExt cx="5485867" cy="642780"/>
          </a:xfrm>
        </p:grpSpPr>
        <p:sp>
          <p:nvSpPr>
            <p:cNvPr id="12" name="Minus Sign 11">
              <a:extLst>
                <a:ext uri="{FF2B5EF4-FFF2-40B4-BE49-F238E27FC236}">
                  <a16:creationId xmlns:a16="http://schemas.microsoft.com/office/drawing/2014/main" id="{B20310E0-E800-4138-9880-D230816F1966}"/>
                </a:ext>
              </a:extLst>
            </p:cNvPr>
            <p:cNvSpPr/>
            <p:nvPr/>
          </p:nvSpPr>
          <p:spPr>
            <a:xfrm>
              <a:off x="335840" y="3827030"/>
              <a:ext cx="505436" cy="467246"/>
            </a:xfrm>
            <a:prstGeom prst="mathMinus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C90212-7A97-4D06-BD8C-5351895F489C}"/>
                </a:ext>
              </a:extLst>
            </p:cNvPr>
            <p:cNvSpPr/>
            <p:nvPr/>
          </p:nvSpPr>
          <p:spPr>
            <a:xfrm>
              <a:off x="895739" y="3739263"/>
              <a:ext cx="4925968" cy="642780"/>
            </a:xfrm>
            <a:custGeom>
              <a:avLst/>
              <a:gdLst>
                <a:gd name="connsiteX0" fmla="*/ 0 w 4804519"/>
                <a:gd name="connsiteY0" fmla="*/ 107151 h 642780"/>
                <a:gd name="connsiteX1" fmla="*/ 107151 w 4804519"/>
                <a:gd name="connsiteY1" fmla="*/ 0 h 642780"/>
                <a:gd name="connsiteX2" fmla="*/ 4697368 w 4804519"/>
                <a:gd name="connsiteY2" fmla="*/ 0 h 642780"/>
                <a:gd name="connsiteX3" fmla="*/ 4804519 w 4804519"/>
                <a:gd name="connsiteY3" fmla="*/ 107151 h 642780"/>
                <a:gd name="connsiteX4" fmla="*/ 4804519 w 4804519"/>
                <a:gd name="connsiteY4" fmla="*/ 535629 h 642780"/>
                <a:gd name="connsiteX5" fmla="*/ 4697368 w 4804519"/>
                <a:gd name="connsiteY5" fmla="*/ 642780 h 642780"/>
                <a:gd name="connsiteX6" fmla="*/ 107151 w 4804519"/>
                <a:gd name="connsiteY6" fmla="*/ 642780 h 642780"/>
                <a:gd name="connsiteX7" fmla="*/ 0 w 4804519"/>
                <a:gd name="connsiteY7" fmla="*/ 535629 h 642780"/>
                <a:gd name="connsiteX8" fmla="*/ 0 w 4804519"/>
                <a:gd name="connsiteY8" fmla="*/ 107151 h 64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519" h="642780">
                  <a:moveTo>
                    <a:pt x="0" y="107151"/>
                  </a:moveTo>
                  <a:cubicBezTo>
                    <a:pt x="0" y="47973"/>
                    <a:pt x="47973" y="0"/>
                    <a:pt x="107151" y="0"/>
                  </a:cubicBezTo>
                  <a:lnTo>
                    <a:pt x="4697368" y="0"/>
                  </a:lnTo>
                  <a:cubicBezTo>
                    <a:pt x="4756546" y="0"/>
                    <a:pt x="4804519" y="47973"/>
                    <a:pt x="4804519" y="107151"/>
                  </a:cubicBezTo>
                  <a:lnTo>
                    <a:pt x="4804519" y="535629"/>
                  </a:lnTo>
                  <a:cubicBezTo>
                    <a:pt x="4804519" y="594807"/>
                    <a:pt x="4756546" y="642780"/>
                    <a:pt x="4697368" y="642780"/>
                  </a:cubicBezTo>
                  <a:lnTo>
                    <a:pt x="107151" y="642780"/>
                  </a:lnTo>
                  <a:cubicBezTo>
                    <a:pt x="47973" y="642780"/>
                    <a:pt x="0" y="594807"/>
                    <a:pt x="0" y="535629"/>
                  </a:cubicBezTo>
                  <a:lnTo>
                    <a:pt x="0" y="107151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30952" tIns="130952" rIns="130952" bIns="130952" numCol="1" spcCol="1270" anchor="ctr" anchorCtr="0">
              <a:noAutofit/>
            </a:bodyPr>
            <a:lstStyle/>
            <a:p>
              <a:pPr marL="0" lvl="0" indent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nsuitable for many conventional algorithms</a:t>
              </a:r>
              <a:endParaRPr lang="en-US" sz="14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826B60-ED3B-48B0-8A79-264860C4BB57}"/>
              </a:ext>
            </a:extLst>
          </p:cNvPr>
          <p:cNvGrpSpPr/>
          <p:nvPr/>
        </p:nvGrpSpPr>
        <p:grpSpPr>
          <a:xfrm>
            <a:off x="715575" y="4717674"/>
            <a:ext cx="4975550" cy="582986"/>
            <a:chOff x="335840" y="4459177"/>
            <a:chExt cx="5485867" cy="642780"/>
          </a:xfrm>
        </p:grpSpPr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FB21A38F-4282-4985-9122-83B498A66E0A}"/>
                </a:ext>
              </a:extLst>
            </p:cNvPr>
            <p:cNvSpPr/>
            <p:nvPr/>
          </p:nvSpPr>
          <p:spPr>
            <a:xfrm>
              <a:off x="335840" y="4546944"/>
              <a:ext cx="505436" cy="467246"/>
            </a:xfrm>
            <a:prstGeom prst="rightArrow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F302E80-91F0-45FB-A558-65399E267F07}"/>
                </a:ext>
              </a:extLst>
            </p:cNvPr>
            <p:cNvSpPr/>
            <p:nvPr/>
          </p:nvSpPr>
          <p:spPr>
            <a:xfrm>
              <a:off x="895739" y="4459177"/>
              <a:ext cx="4925968" cy="642780"/>
            </a:xfrm>
            <a:custGeom>
              <a:avLst/>
              <a:gdLst>
                <a:gd name="connsiteX0" fmla="*/ 0 w 4804519"/>
                <a:gd name="connsiteY0" fmla="*/ 107151 h 642780"/>
                <a:gd name="connsiteX1" fmla="*/ 107151 w 4804519"/>
                <a:gd name="connsiteY1" fmla="*/ 0 h 642780"/>
                <a:gd name="connsiteX2" fmla="*/ 4697368 w 4804519"/>
                <a:gd name="connsiteY2" fmla="*/ 0 h 642780"/>
                <a:gd name="connsiteX3" fmla="*/ 4804519 w 4804519"/>
                <a:gd name="connsiteY3" fmla="*/ 107151 h 642780"/>
                <a:gd name="connsiteX4" fmla="*/ 4804519 w 4804519"/>
                <a:gd name="connsiteY4" fmla="*/ 535629 h 642780"/>
                <a:gd name="connsiteX5" fmla="*/ 4697368 w 4804519"/>
                <a:gd name="connsiteY5" fmla="*/ 642780 h 642780"/>
                <a:gd name="connsiteX6" fmla="*/ 107151 w 4804519"/>
                <a:gd name="connsiteY6" fmla="*/ 642780 h 642780"/>
                <a:gd name="connsiteX7" fmla="*/ 0 w 4804519"/>
                <a:gd name="connsiteY7" fmla="*/ 535629 h 642780"/>
                <a:gd name="connsiteX8" fmla="*/ 0 w 4804519"/>
                <a:gd name="connsiteY8" fmla="*/ 107151 h 64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519" h="642780">
                  <a:moveTo>
                    <a:pt x="0" y="107151"/>
                  </a:moveTo>
                  <a:cubicBezTo>
                    <a:pt x="0" y="47973"/>
                    <a:pt x="47973" y="0"/>
                    <a:pt x="107151" y="0"/>
                  </a:cubicBezTo>
                  <a:lnTo>
                    <a:pt x="4697368" y="0"/>
                  </a:lnTo>
                  <a:cubicBezTo>
                    <a:pt x="4756546" y="0"/>
                    <a:pt x="4804519" y="47973"/>
                    <a:pt x="4804519" y="107151"/>
                  </a:cubicBezTo>
                  <a:lnTo>
                    <a:pt x="4804519" y="535629"/>
                  </a:lnTo>
                  <a:cubicBezTo>
                    <a:pt x="4804519" y="594807"/>
                    <a:pt x="4756546" y="642780"/>
                    <a:pt x="4697368" y="642780"/>
                  </a:cubicBezTo>
                  <a:lnTo>
                    <a:pt x="107151" y="642780"/>
                  </a:lnTo>
                  <a:cubicBezTo>
                    <a:pt x="47973" y="642780"/>
                    <a:pt x="0" y="594807"/>
                    <a:pt x="0" y="535629"/>
                  </a:cubicBezTo>
                  <a:lnTo>
                    <a:pt x="0" y="107151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30952" tIns="130952" rIns="130952" bIns="130952" numCol="1" spcCol="1270" anchor="ctr" anchorCtr="0">
              <a:noAutofit/>
            </a:bodyPr>
            <a:lstStyle/>
            <a:p>
              <a:pPr marL="0" lvl="0" indent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ossible solution: new primitives with better performance (e.g. </a:t>
              </a:r>
              <a:r>
                <a:rPr lang="en-US" sz="1400" kern="1200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iMC</a:t>
              </a:r>
              <a:r>
                <a:rPr lang="en-US" sz="1400" kern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instead of SHA-2)</a:t>
              </a: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1C05502-800E-4685-B390-EC10C0EC2158}"/>
              </a:ext>
            </a:extLst>
          </p:cNvPr>
          <p:cNvSpPr/>
          <p:nvPr/>
        </p:nvSpPr>
        <p:spPr>
          <a:xfrm>
            <a:off x="6500877" y="2519365"/>
            <a:ext cx="4975548" cy="582986"/>
          </a:xfrm>
          <a:custGeom>
            <a:avLst/>
            <a:gdLst>
              <a:gd name="connsiteX0" fmla="*/ 0 w 5485866"/>
              <a:gd name="connsiteY0" fmla="*/ 64278 h 642780"/>
              <a:gd name="connsiteX1" fmla="*/ 64278 w 5485866"/>
              <a:gd name="connsiteY1" fmla="*/ 0 h 642780"/>
              <a:gd name="connsiteX2" fmla="*/ 5421588 w 5485866"/>
              <a:gd name="connsiteY2" fmla="*/ 0 h 642780"/>
              <a:gd name="connsiteX3" fmla="*/ 5485866 w 5485866"/>
              <a:gd name="connsiteY3" fmla="*/ 64278 h 642780"/>
              <a:gd name="connsiteX4" fmla="*/ 5485866 w 5485866"/>
              <a:gd name="connsiteY4" fmla="*/ 578502 h 642780"/>
              <a:gd name="connsiteX5" fmla="*/ 5421588 w 5485866"/>
              <a:gd name="connsiteY5" fmla="*/ 642780 h 642780"/>
              <a:gd name="connsiteX6" fmla="*/ 64278 w 5485866"/>
              <a:gd name="connsiteY6" fmla="*/ 642780 h 642780"/>
              <a:gd name="connsiteX7" fmla="*/ 0 w 5485866"/>
              <a:gd name="connsiteY7" fmla="*/ 578502 h 642780"/>
              <a:gd name="connsiteX8" fmla="*/ 0 w 5485866"/>
              <a:gd name="connsiteY8" fmla="*/ 64278 h 64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85866" h="642780">
                <a:moveTo>
                  <a:pt x="0" y="64278"/>
                </a:moveTo>
                <a:cubicBezTo>
                  <a:pt x="0" y="28778"/>
                  <a:pt x="28778" y="0"/>
                  <a:pt x="64278" y="0"/>
                </a:cubicBezTo>
                <a:lnTo>
                  <a:pt x="5421588" y="0"/>
                </a:lnTo>
                <a:cubicBezTo>
                  <a:pt x="5457088" y="0"/>
                  <a:pt x="5485866" y="28778"/>
                  <a:pt x="5485866" y="64278"/>
                </a:cubicBezTo>
                <a:lnTo>
                  <a:pt x="5485866" y="578502"/>
                </a:lnTo>
                <a:cubicBezTo>
                  <a:pt x="5485866" y="614002"/>
                  <a:pt x="5457088" y="642780"/>
                  <a:pt x="5421588" y="642780"/>
                </a:cubicBezTo>
                <a:lnTo>
                  <a:pt x="64278" y="642780"/>
                </a:lnTo>
                <a:cubicBezTo>
                  <a:pt x="28778" y="642780"/>
                  <a:pt x="0" y="614002"/>
                  <a:pt x="0" y="578502"/>
                </a:cubicBezTo>
                <a:lnTo>
                  <a:pt x="0" y="64278"/>
                </a:lnTo>
                <a:close/>
              </a:path>
            </a:pathLst>
          </a:cu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spcFirstLastPara="0" vert="horz" wrap="square" lIns="91216" tIns="67086" rIns="91216" bIns="67086" numCol="1" spcCol="1270" anchor="ctr" anchorCtr="0">
            <a:noAutofit/>
          </a:bodyPr>
          <a:lstStyle/>
          <a:p>
            <a:pPr marL="0" lvl="0" indent="0" algn="ctr" defTabSz="1689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200" kern="1200" baseline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urity</a:t>
            </a:r>
            <a:endParaRPr lang="en-US" sz="38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BD65490-1BCD-4C58-B43C-DC6FBDEABAA7}"/>
              </a:ext>
            </a:extLst>
          </p:cNvPr>
          <p:cNvGrpSpPr/>
          <p:nvPr/>
        </p:nvGrpSpPr>
        <p:grpSpPr>
          <a:xfrm>
            <a:off x="6500877" y="3277846"/>
            <a:ext cx="4975550" cy="582986"/>
            <a:chOff x="6370293" y="3019349"/>
            <a:chExt cx="5485868" cy="642780"/>
          </a:xfrm>
        </p:grpSpPr>
        <p:sp>
          <p:nvSpPr>
            <p:cNvPr id="17" name="Minus Sign 16">
              <a:extLst>
                <a:ext uri="{FF2B5EF4-FFF2-40B4-BE49-F238E27FC236}">
                  <a16:creationId xmlns:a16="http://schemas.microsoft.com/office/drawing/2014/main" id="{01455C1C-FBBA-4A17-902F-72EF95F6C137}"/>
                </a:ext>
              </a:extLst>
            </p:cNvPr>
            <p:cNvSpPr/>
            <p:nvPr/>
          </p:nvSpPr>
          <p:spPr>
            <a:xfrm>
              <a:off x="6370293" y="3107116"/>
              <a:ext cx="505436" cy="467246"/>
            </a:xfrm>
            <a:prstGeom prst="mathMinus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498B11D-CF17-43F5-8232-2954DC97C5E8}"/>
                </a:ext>
              </a:extLst>
            </p:cNvPr>
            <p:cNvSpPr/>
            <p:nvPr/>
          </p:nvSpPr>
          <p:spPr>
            <a:xfrm>
              <a:off x="6930193" y="3019349"/>
              <a:ext cx="4925968" cy="642780"/>
            </a:xfrm>
            <a:custGeom>
              <a:avLst/>
              <a:gdLst>
                <a:gd name="connsiteX0" fmla="*/ 0 w 4804519"/>
                <a:gd name="connsiteY0" fmla="*/ 107151 h 642780"/>
                <a:gd name="connsiteX1" fmla="*/ 107151 w 4804519"/>
                <a:gd name="connsiteY1" fmla="*/ 0 h 642780"/>
                <a:gd name="connsiteX2" fmla="*/ 4697368 w 4804519"/>
                <a:gd name="connsiteY2" fmla="*/ 0 h 642780"/>
                <a:gd name="connsiteX3" fmla="*/ 4804519 w 4804519"/>
                <a:gd name="connsiteY3" fmla="*/ 107151 h 642780"/>
                <a:gd name="connsiteX4" fmla="*/ 4804519 w 4804519"/>
                <a:gd name="connsiteY4" fmla="*/ 535629 h 642780"/>
                <a:gd name="connsiteX5" fmla="*/ 4697368 w 4804519"/>
                <a:gd name="connsiteY5" fmla="*/ 642780 h 642780"/>
                <a:gd name="connsiteX6" fmla="*/ 107151 w 4804519"/>
                <a:gd name="connsiteY6" fmla="*/ 642780 h 642780"/>
                <a:gd name="connsiteX7" fmla="*/ 0 w 4804519"/>
                <a:gd name="connsiteY7" fmla="*/ 535629 h 642780"/>
                <a:gd name="connsiteX8" fmla="*/ 0 w 4804519"/>
                <a:gd name="connsiteY8" fmla="*/ 107151 h 64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519" h="642780">
                  <a:moveTo>
                    <a:pt x="0" y="107151"/>
                  </a:moveTo>
                  <a:cubicBezTo>
                    <a:pt x="0" y="47973"/>
                    <a:pt x="47973" y="0"/>
                    <a:pt x="107151" y="0"/>
                  </a:cubicBezTo>
                  <a:lnTo>
                    <a:pt x="4697368" y="0"/>
                  </a:lnTo>
                  <a:cubicBezTo>
                    <a:pt x="4756546" y="0"/>
                    <a:pt x="4804519" y="47973"/>
                    <a:pt x="4804519" y="107151"/>
                  </a:cubicBezTo>
                  <a:lnTo>
                    <a:pt x="4804519" y="535629"/>
                  </a:lnTo>
                  <a:cubicBezTo>
                    <a:pt x="4804519" y="594807"/>
                    <a:pt x="4756546" y="642780"/>
                    <a:pt x="4697368" y="642780"/>
                  </a:cubicBezTo>
                  <a:lnTo>
                    <a:pt x="107151" y="642780"/>
                  </a:lnTo>
                  <a:cubicBezTo>
                    <a:pt x="47973" y="642780"/>
                    <a:pt x="0" y="594807"/>
                    <a:pt x="0" y="535629"/>
                  </a:cubicBezTo>
                  <a:lnTo>
                    <a:pt x="0" y="107151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30952" tIns="130952" rIns="130952" bIns="130952" numCol="1" spcCol="1270" anchor="ctr" anchorCtr="0">
              <a:noAutofit/>
            </a:bodyPr>
            <a:lstStyle/>
            <a:p>
              <a:pPr marL="0" lvl="0" indent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rusted setup remains major vulnerability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8CFED-46B2-45C2-AEAF-E095397B5CA2}"/>
              </a:ext>
            </a:extLst>
          </p:cNvPr>
          <p:cNvGrpSpPr/>
          <p:nvPr/>
        </p:nvGrpSpPr>
        <p:grpSpPr>
          <a:xfrm>
            <a:off x="6500877" y="3997760"/>
            <a:ext cx="4975550" cy="582986"/>
            <a:chOff x="6370293" y="3739263"/>
            <a:chExt cx="5485868" cy="642780"/>
          </a:xfrm>
        </p:grpSpPr>
        <p:sp>
          <p:nvSpPr>
            <p:cNvPr id="19" name="Minus Sign 18">
              <a:extLst>
                <a:ext uri="{FF2B5EF4-FFF2-40B4-BE49-F238E27FC236}">
                  <a16:creationId xmlns:a16="http://schemas.microsoft.com/office/drawing/2014/main" id="{F1ECE5CC-7CBD-452F-9FB0-9204DD5C6F16}"/>
                </a:ext>
              </a:extLst>
            </p:cNvPr>
            <p:cNvSpPr/>
            <p:nvPr/>
          </p:nvSpPr>
          <p:spPr>
            <a:xfrm>
              <a:off x="6370293" y="3827030"/>
              <a:ext cx="505436" cy="467246"/>
            </a:xfrm>
            <a:prstGeom prst="mathMinus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994F3CC-BE69-4DE3-A3B0-B5BE7585A1F6}"/>
                </a:ext>
              </a:extLst>
            </p:cNvPr>
            <p:cNvSpPr/>
            <p:nvPr/>
          </p:nvSpPr>
          <p:spPr>
            <a:xfrm>
              <a:off x="6930193" y="3739263"/>
              <a:ext cx="4925968" cy="642780"/>
            </a:xfrm>
            <a:custGeom>
              <a:avLst/>
              <a:gdLst>
                <a:gd name="connsiteX0" fmla="*/ 0 w 4804519"/>
                <a:gd name="connsiteY0" fmla="*/ 107151 h 642780"/>
                <a:gd name="connsiteX1" fmla="*/ 107151 w 4804519"/>
                <a:gd name="connsiteY1" fmla="*/ 0 h 642780"/>
                <a:gd name="connsiteX2" fmla="*/ 4697368 w 4804519"/>
                <a:gd name="connsiteY2" fmla="*/ 0 h 642780"/>
                <a:gd name="connsiteX3" fmla="*/ 4804519 w 4804519"/>
                <a:gd name="connsiteY3" fmla="*/ 107151 h 642780"/>
                <a:gd name="connsiteX4" fmla="*/ 4804519 w 4804519"/>
                <a:gd name="connsiteY4" fmla="*/ 535629 h 642780"/>
                <a:gd name="connsiteX5" fmla="*/ 4697368 w 4804519"/>
                <a:gd name="connsiteY5" fmla="*/ 642780 h 642780"/>
                <a:gd name="connsiteX6" fmla="*/ 107151 w 4804519"/>
                <a:gd name="connsiteY6" fmla="*/ 642780 h 642780"/>
                <a:gd name="connsiteX7" fmla="*/ 0 w 4804519"/>
                <a:gd name="connsiteY7" fmla="*/ 535629 h 642780"/>
                <a:gd name="connsiteX8" fmla="*/ 0 w 4804519"/>
                <a:gd name="connsiteY8" fmla="*/ 107151 h 64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519" h="642780">
                  <a:moveTo>
                    <a:pt x="0" y="107151"/>
                  </a:moveTo>
                  <a:cubicBezTo>
                    <a:pt x="0" y="47973"/>
                    <a:pt x="47973" y="0"/>
                    <a:pt x="107151" y="0"/>
                  </a:cubicBezTo>
                  <a:lnTo>
                    <a:pt x="4697368" y="0"/>
                  </a:lnTo>
                  <a:cubicBezTo>
                    <a:pt x="4756546" y="0"/>
                    <a:pt x="4804519" y="47973"/>
                    <a:pt x="4804519" y="107151"/>
                  </a:cubicBezTo>
                  <a:lnTo>
                    <a:pt x="4804519" y="535629"/>
                  </a:lnTo>
                  <a:cubicBezTo>
                    <a:pt x="4804519" y="594807"/>
                    <a:pt x="4756546" y="642780"/>
                    <a:pt x="4697368" y="642780"/>
                  </a:cubicBezTo>
                  <a:lnTo>
                    <a:pt x="107151" y="642780"/>
                  </a:lnTo>
                  <a:cubicBezTo>
                    <a:pt x="47973" y="642780"/>
                    <a:pt x="0" y="594807"/>
                    <a:pt x="0" y="535629"/>
                  </a:cubicBezTo>
                  <a:lnTo>
                    <a:pt x="0" y="107151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30952" tIns="130952" rIns="130952" bIns="130952" numCol="1" spcCol="1270" anchor="ctr" anchorCtr="0">
              <a:noAutofit/>
            </a:bodyPr>
            <a:lstStyle/>
            <a:p>
              <a:pPr marL="0" lvl="0" indent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new attack vectors might be discovered in the futur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4B0F91D-8D76-4803-BC84-A942B5CF4FA6}"/>
              </a:ext>
            </a:extLst>
          </p:cNvPr>
          <p:cNvGrpSpPr/>
          <p:nvPr/>
        </p:nvGrpSpPr>
        <p:grpSpPr>
          <a:xfrm>
            <a:off x="6500877" y="4717674"/>
            <a:ext cx="4975550" cy="582986"/>
            <a:chOff x="6370293" y="4459177"/>
            <a:chExt cx="5485868" cy="642780"/>
          </a:xfrm>
        </p:grpSpPr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03559F17-D7DB-466B-BB45-B494950A67D5}"/>
                </a:ext>
              </a:extLst>
            </p:cNvPr>
            <p:cNvSpPr/>
            <p:nvPr/>
          </p:nvSpPr>
          <p:spPr>
            <a:xfrm>
              <a:off x="6370293" y="4546944"/>
              <a:ext cx="505436" cy="467246"/>
            </a:xfrm>
            <a:prstGeom prst="rightArrow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99E6EB8-80C2-465A-81BC-952A67F26942}"/>
                </a:ext>
              </a:extLst>
            </p:cNvPr>
            <p:cNvSpPr/>
            <p:nvPr/>
          </p:nvSpPr>
          <p:spPr>
            <a:xfrm>
              <a:off x="6930193" y="4459177"/>
              <a:ext cx="4925968" cy="642780"/>
            </a:xfrm>
            <a:custGeom>
              <a:avLst/>
              <a:gdLst>
                <a:gd name="connsiteX0" fmla="*/ 0 w 4804519"/>
                <a:gd name="connsiteY0" fmla="*/ 107151 h 642780"/>
                <a:gd name="connsiteX1" fmla="*/ 107151 w 4804519"/>
                <a:gd name="connsiteY1" fmla="*/ 0 h 642780"/>
                <a:gd name="connsiteX2" fmla="*/ 4697368 w 4804519"/>
                <a:gd name="connsiteY2" fmla="*/ 0 h 642780"/>
                <a:gd name="connsiteX3" fmla="*/ 4804519 w 4804519"/>
                <a:gd name="connsiteY3" fmla="*/ 107151 h 642780"/>
                <a:gd name="connsiteX4" fmla="*/ 4804519 w 4804519"/>
                <a:gd name="connsiteY4" fmla="*/ 535629 h 642780"/>
                <a:gd name="connsiteX5" fmla="*/ 4697368 w 4804519"/>
                <a:gd name="connsiteY5" fmla="*/ 642780 h 642780"/>
                <a:gd name="connsiteX6" fmla="*/ 107151 w 4804519"/>
                <a:gd name="connsiteY6" fmla="*/ 642780 h 642780"/>
                <a:gd name="connsiteX7" fmla="*/ 0 w 4804519"/>
                <a:gd name="connsiteY7" fmla="*/ 535629 h 642780"/>
                <a:gd name="connsiteX8" fmla="*/ 0 w 4804519"/>
                <a:gd name="connsiteY8" fmla="*/ 107151 h 64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519" h="642780">
                  <a:moveTo>
                    <a:pt x="0" y="107151"/>
                  </a:moveTo>
                  <a:cubicBezTo>
                    <a:pt x="0" y="47973"/>
                    <a:pt x="47973" y="0"/>
                    <a:pt x="107151" y="0"/>
                  </a:cubicBezTo>
                  <a:lnTo>
                    <a:pt x="4697368" y="0"/>
                  </a:lnTo>
                  <a:cubicBezTo>
                    <a:pt x="4756546" y="0"/>
                    <a:pt x="4804519" y="47973"/>
                    <a:pt x="4804519" y="107151"/>
                  </a:cubicBezTo>
                  <a:lnTo>
                    <a:pt x="4804519" y="535629"/>
                  </a:lnTo>
                  <a:cubicBezTo>
                    <a:pt x="4804519" y="594807"/>
                    <a:pt x="4756546" y="642780"/>
                    <a:pt x="4697368" y="642780"/>
                  </a:cubicBezTo>
                  <a:lnTo>
                    <a:pt x="107151" y="642780"/>
                  </a:lnTo>
                  <a:cubicBezTo>
                    <a:pt x="47973" y="642780"/>
                    <a:pt x="0" y="594807"/>
                    <a:pt x="0" y="535629"/>
                  </a:cubicBezTo>
                  <a:lnTo>
                    <a:pt x="0" y="107151"/>
                  </a:ln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spcFirstLastPara="0" vert="horz" wrap="square" lIns="130952" tIns="130952" rIns="130952" bIns="130952" numCol="1" spcCol="1270" anchor="ctr" anchorCtr="0">
              <a:noAutofit/>
            </a:bodyPr>
            <a:lstStyle/>
            <a:p>
              <a:pPr marL="0" lvl="0" indent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ossible solution: move to setup-less technology</a:t>
              </a: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80742-4225-4AE5-A447-DEABC1606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897E8-173C-4314-8606-A28579B83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8D906-1DAB-4103-BF1F-58BFFEF22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7295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4CB2D-D831-4C40-ADE3-B09D7D1C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oo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80742-4225-4AE5-A447-DEABC1606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897E8-173C-4314-8606-A28579B83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8D906-1DAB-4103-BF1F-58BFFEF22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D36F7AE-B1D9-483B-8D94-28A5A9E1BC27}"/>
              </a:ext>
            </a:extLst>
          </p:cNvPr>
          <p:cNvGrpSpPr/>
          <p:nvPr/>
        </p:nvGrpSpPr>
        <p:grpSpPr>
          <a:xfrm>
            <a:off x="334434" y="1091843"/>
            <a:ext cx="11523133" cy="1643580"/>
            <a:chOff x="334434" y="1091843"/>
            <a:chExt cx="11523133" cy="164358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C31F897-301D-4EAD-90C8-8301ED33AEC6}"/>
                </a:ext>
              </a:extLst>
            </p:cNvPr>
            <p:cNvGrpSpPr/>
            <p:nvPr/>
          </p:nvGrpSpPr>
          <p:grpSpPr>
            <a:xfrm>
              <a:off x="334434" y="1091843"/>
              <a:ext cx="11523133" cy="1643580"/>
              <a:chOff x="334434" y="1091843"/>
              <a:chExt cx="11523133" cy="1643580"/>
            </a:xfrm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7552624-E2FD-4074-90EB-BBD21D2D643B}"/>
                  </a:ext>
                </a:extLst>
              </p:cNvPr>
              <p:cNvSpPr/>
              <p:nvPr/>
            </p:nvSpPr>
            <p:spPr>
              <a:xfrm>
                <a:off x="334434" y="1431323"/>
                <a:ext cx="11523133" cy="1304100"/>
              </a:xfrm>
              <a:custGeom>
                <a:avLst/>
                <a:gdLst>
                  <a:gd name="connsiteX0" fmla="*/ 0 w 11523133"/>
                  <a:gd name="connsiteY0" fmla="*/ 0 h 1304100"/>
                  <a:gd name="connsiteX1" fmla="*/ 11523133 w 11523133"/>
                  <a:gd name="connsiteY1" fmla="*/ 0 h 1304100"/>
                  <a:gd name="connsiteX2" fmla="*/ 11523133 w 11523133"/>
                  <a:gd name="connsiteY2" fmla="*/ 1304100 h 1304100"/>
                  <a:gd name="connsiteX3" fmla="*/ 0 w 11523133"/>
                  <a:gd name="connsiteY3" fmla="*/ 1304100 h 1304100"/>
                  <a:gd name="connsiteX4" fmla="*/ 0 w 11523133"/>
                  <a:gd name="connsiteY4" fmla="*/ 0 h 1304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23133" h="1304100">
                    <a:moveTo>
                      <a:pt x="0" y="0"/>
                    </a:moveTo>
                    <a:lnTo>
                      <a:pt x="11523133" y="0"/>
                    </a:lnTo>
                    <a:lnTo>
                      <a:pt x="11523133" y="1304100"/>
                    </a:lnTo>
                    <a:lnTo>
                      <a:pt x="0" y="1304100"/>
                    </a:lnTo>
                    <a:lnTo>
                      <a:pt x="0" y="0"/>
                    </a:lnTo>
                    <a:close/>
                  </a:path>
                </a:pathLst>
              </a:cu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97280" tIns="548640" rIns="0" bIns="228600" numCol="1" spcCol="1270" anchor="b" anchorCtr="0">
                <a:noAutofit/>
              </a:bodyPr>
              <a:lstStyle/>
              <a:p>
                <a:pPr marL="0" lvl="1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kern="1200" baseline="0" dirty="0"/>
                  <a:t>eliminate the need for a trusted setup</a:t>
                </a:r>
                <a:endParaRPr lang="en-US" kern="1200" dirty="0"/>
              </a:p>
              <a:p>
                <a:pPr marL="0" lvl="1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kern="1200" baseline="0" dirty="0"/>
                  <a:t>are not yet in a usable state</a:t>
                </a:r>
                <a:endParaRPr lang="en-US" kern="1200" dirty="0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F4EFDFB9-DB7D-47C6-BB48-5E4E0AAA639C}"/>
                  </a:ext>
                </a:extLst>
              </p:cNvPr>
              <p:cNvSpPr/>
              <p:nvPr/>
            </p:nvSpPr>
            <p:spPr>
              <a:xfrm>
                <a:off x="910590" y="1091843"/>
                <a:ext cx="8066193" cy="678960"/>
              </a:xfrm>
              <a:custGeom>
                <a:avLst/>
                <a:gdLst>
                  <a:gd name="connsiteX0" fmla="*/ 0 w 8066193"/>
                  <a:gd name="connsiteY0" fmla="*/ 113162 h 678960"/>
                  <a:gd name="connsiteX1" fmla="*/ 113162 w 8066193"/>
                  <a:gd name="connsiteY1" fmla="*/ 0 h 678960"/>
                  <a:gd name="connsiteX2" fmla="*/ 7953031 w 8066193"/>
                  <a:gd name="connsiteY2" fmla="*/ 0 h 678960"/>
                  <a:gd name="connsiteX3" fmla="*/ 8066193 w 8066193"/>
                  <a:gd name="connsiteY3" fmla="*/ 113162 h 678960"/>
                  <a:gd name="connsiteX4" fmla="*/ 8066193 w 8066193"/>
                  <a:gd name="connsiteY4" fmla="*/ 565798 h 678960"/>
                  <a:gd name="connsiteX5" fmla="*/ 7953031 w 8066193"/>
                  <a:gd name="connsiteY5" fmla="*/ 678960 h 678960"/>
                  <a:gd name="connsiteX6" fmla="*/ 113162 w 8066193"/>
                  <a:gd name="connsiteY6" fmla="*/ 678960 h 678960"/>
                  <a:gd name="connsiteX7" fmla="*/ 0 w 8066193"/>
                  <a:gd name="connsiteY7" fmla="*/ 565798 h 678960"/>
                  <a:gd name="connsiteX8" fmla="*/ 0 w 8066193"/>
                  <a:gd name="connsiteY8" fmla="*/ 113162 h 678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66193" h="678960">
                    <a:moveTo>
                      <a:pt x="0" y="113162"/>
                    </a:moveTo>
                    <a:cubicBezTo>
                      <a:pt x="0" y="50664"/>
                      <a:pt x="50664" y="0"/>
                      <a:pt x="113162" y="0"/>
                    </a:cubicBezTo>
                    <a:lnTo>
                      <a:pt x="7953031" y="0"/>
                    </a:lnTo>
                    <a:cubicBezTo>
                      <a:pt x="8015529" y="0"/>
                      <a:pt x="8066193" y="50664"/>
                      <a:pt x="8066193" y="113162"/>
                    </a:cubicBezTo>
                    <a:lnTo>
                      <a:pt x="8066193" y="565798"/>
                    </a:lnTo>
                    <a:cubicBezTo>
                      <a:pt x="8066193" y="628296"/>
                      <a:pt x="8015529" y="678960"/>
                      <a:pt x="7953031" y="678960"/>
                    </a:cubicBezTo>
                    <a:lnTo>
                      <a:pt x="113162" y="678960"/>
                    </a:lnTo>
                    <a:cubicBezTo>
                      <a:pt x="50664" y="678960"/>
                      <a:pt x="0" y="628296"/>
                      <a:pt x="0" y="565798"/>
                    </a:cubicBezTo>
                    <a:lnTo>
                      <a:pt x="0" y="113162"/>
                    </a:lnTo>
                    <a:close/>
                  </a:path>
                </a:pathLst>
              </a:cu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spcFirstLastPara="0" vert="horz" wrap="square" lIns="338027" tIns="33144" rIns="338027" bIns="33144" numCol="1" spcCol="1270" anchor="ctr" anchorCtr="0">
                <a:noAutofit/>
              </a:bodyPr>
              <a:lstStyle/>
              <a:p>
                <a:pPr marL="0" lvl="0" indent="0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200" kern="1200" baseline="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transparent </a:t>
                </a:r>
                <a:r>
                  <a:rPr lang="en-US" sz="2200" kern="1200" baseline="0" dirty="0" err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zkSNARKs</a:t>
                </a:r>
                <a:endParaRPr lang="en-US" sz="2200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7" name="Plus Sign 16">
              <a:extLst>
                <a:ext uri="{FF2B5EF4-FFF2-40B4-BE49-F238E27FC236}">
                  <a16:creationId xmlns:a16="http://schemas.microsoft.com/office/drawing/2014/main" id="{C9EB9E18-830C-4789-B087-71AAF5647A8B}"/>
                </a:ext>
              </a:extLst>
            </p:cNvPr>
            <p:cNvSpPr/>
            <p:nvPr/>
          </p:nvSpPr>
          <p:spPr bwMode="auto">
            <a:xfrm>
              <a:off x="1066800" y="1943057"/>
              <a:ext cx="304800" cy="288926"/>
            </a:xfrm>
            <a:prstGeom prst="mathPlus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0" name="Minus Sign 19">
              <a:extLst>
                <a:ext uri="{FF2B5EF4-FFF2-40B4-BE49-F238E27FC236}">
                  <a16:creationId xmlns:a16="http://schemas.microsoft.com/office/drawing/2014/main" id="{1F631F6F-86DD-4521-ACE9-7BD15FAC0766}"/>
                </a:ext>
              </a:extLst>
            </p:cNvPr>
            <p:cNvSpPr/>
            <p:nvPr/>
          </p:nvSpPr>
          <p:spPr bwMode="auto">
            <a:xfrm>
              <a:off x="1066800" y="2245297"/>
              <a:ext cx="304800" cy="288926"/>
            </a:xfrm>
            <a:prstGeom prst="mathMinus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8E1D9-EC9E-4C9F-A1E4-6F9B7190E273}"/>
              </a:ext>
            </a:extLst>
          </p:cNvPr>
          <p:cNvGrpSpPr/>
          <p:nvPr/>
        </p:nvGrpSpPr>
        <p:grpSpPr>
          <a:xfrm>
            <a:off x="334434" y="2859623"/>
            <a:ext cx="11523133" cy="1643580"/>
            <a:chOff x="334434" y="2859623"/>
            <a:chExt cx="11523133" cy="1643580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7B1008B-2768-4AF3-838D-318315A4C13C}"/>
                </a:ext>
              </a:extLst>
            </p:cNvPr>
            <p:cNvGrpSpPr/>
            <p:nvPr/>
          </p:nvGrpSpPr>
          <p:grpSpPr>
            <a:xfrm>
              <a:off x="334434" y="2859623"/>
              <a:ext cx="11523133" cy="1643580"/>
              <a:chOff x="334434" y="2859623"/>
              <a:chExt cx="11523133" cy="1643580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20BEF6F1-8303-4915-B1C5-FEB7DEC72D6B}"/>
                  </a:ext>
                </a:extLst>
              </p:cNvPr>
              <p:cNvSpPr/>
              <p:nvPr/>
            </p:nvSpPr>
            <p:spPr>
              <a:xfrm>
                <a:off x="334434" y="3199103"/>
                <a:ext cx="11523133" cy="1304100"/>
              </a:xfrm>
              <a:custGeom>
                <a:avLst/>
                <a:gdLst>
                  <a:gd name="connsiteX0" fmla="*/ 0 w 11523133"/>
                  <a:gd name="connsiteY0" fmla="*/ 0 h 1304100"/>
                  <a:gd name="connsiteX1" fmla="*/ 11523133 w 11523133"/>
                  <a:gd name="connsiteY1" fmla="*/ 0 h 1304100"/>
                  <a:gd name="connsiteX2" fmla="*/ 11523133 w 11523133"/>
                  <a:gd name="connsiteY2" fmla="*/ 1304100 h 1304100"/>
                  <a:gd name="connsiteX3" fmla="*/ 0 w 11523133"/>
                  <a:gd name="connsiteY3" fmla="*/ 1304100 h 1304100"/>
                  <a:gd name="connsiteX4" fmla="*/ 0 w 11523133"/>
                  <a:gd name="connsiteY4" fmla="*/ 0 h 1304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23133" h="1304100">
                    <a:moveTo>
                      <a:pt x="0" y="0"/>
                    </a:moveTo>
                    <a:lnTo>
                      <a:pt x="11523133" y="0"/>
                    </a:lnTo>
                    <a:lnTo>
                      <a:pt x="11523133" y="1304100"/>
                    </a:lnTo>
                    <a:lnTo>
                      <a:pt x="0" y="1304100"/>
                    </a:lnTo>
                    <a:lnTo>
                      <a:pt x="0" y="0"/>
                    </a:lnTo>
                    <a:close/>
                  </a:path>
                </a:pathLst>
              </a:cu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97280" tIns="548640" rIns="0" bIns="228600" numCol="1" spcCol="1270" anchor="b" anchorCtr="0">
                <a:noAutofit/>
              </a:bodyPr>
              <a:lstStyle/>
              <a:p>
                <a:pPr marL="0" lvl="1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kern="1200" baseline="0" dirty="0"/>
                  <a:t>stronger security guarantees that have been shown to work in practice</a:t>
                </a:r>
                <a:endParaRPr lang="en-US" kern="1200" dirty="0"/>
              </a:p>
              <a:p>
                <a:pPr marL="0" lvl="1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kern="1200" baseline="0" dirty="0"/>
                  <a:t>no active development community</a:t>
                </a:r>
                <a:endParaRPr lang="en-US" kern="1200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6CB20DF-C02A-4F80-9B9B-FC8E81A434CF}"/>
                  </a:ext>
                </a:extLst>
              </p:cNvPr>
              <p:cNvSpPr/>
              <p:nvPr/>
            </p:nvSpPr>
            <p:spPr>
              <a:xfrm>
                <a:off x="910590" y="2859623"/>
                <a:ext cx="8066193" cy="678960"/>
              </a:xfrm>
              <a:custGeom>
                <a:avLst/>
                <a:gdLst>
                  <a:gd name="connsiteX0" fmla="*/ 0 w 8066193"/>
                  <a:gd name="connsiteY0" fmla="*/ 113162 h 678960"/>
                  <a:gd name="connsiteX1" fmla="*/ 113162 w 8066193"/>
                  <a:gd name="connsiteY1" fmla="*/ 0 h 678960"/>
                  <a:gd name="connsiteX2" fmla="*/ 7953031 w 8066193"/>
                  <a:gd name="connsiteY2" fmla="*/ 0 h 678960"/>
                  <a:gd name="connsiteX3" fmla="*/ 8066193 w 8066193"/>
                  <a:gd name="connsiteY3" fmla="*/ 113162 h 678960"/>
                  <a:gd name="connsiteX4" fmla="*/ 8066193 w 8066193"/>
                  <a:gd name="connsiteY4" fmla="*/ 565798 h 678960"/>
                  <a:gd name="connsiteX5" fmla="*/ 7953031 w 8066193"/>
                  <a:gd name="connsiteY5" fmla="*/ 678960 h 678960"/>
                  <a:gd name="connsiteX6" fmla="*/ 113162 w 8066193"/>
                  <a:gd name="connsiteY6" fmla="*/ 678960 h 678960"/>
                  <a:gd name="connsiteX7" fmla="*/ 0 w 8066193"/>
                  <a:gd name="connsiteY7" fmla="*/ 565798 h 678960"/>
                  <a:gd name="connsiteX8" fmla="*/ 0 w 8066193"/>
                  <a:gd name="connsiteY8" fmla="*/ 113162 h 678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66193" h="678960">
                    <a:moveTo>
                      <a:pt x="0" y="113162"/>
                    </a:moveTo>
                    <a:cubicBezTo>
                      <a:pt x="0" y="50664"/>
                      <a:pt x="50664" y="0"/>
                      <a:pt x="113162" y="0"/>
                    </a:cubicBezTo>
                    <a:lnTo>
                      <a:pt x="7953031" y="0"/>
                    </a:lnTo>
                    <a:cubicBezTo>
                      <a:pt x="8015529" y="0"/>
                      <a:pt x="8066193" y="50664"/>
                      <a:pt x="8066193" y="113162"/>
                    </a:cubicBezTo>
                    <a:lnTo>
                      <a:pt x="8066193" y="565798"/>
                    </a:lnTo>
                    <a:cubicBezTo>
                      <a:pt x="8066193" y="628296"/>
                      <a:pt x="8015529" y="678960"/>
                      <a:pt x="7953031" y="678960"/>
                    </a:cubicBezTo>
                    <a:lnTo>
                      <a:pt x="113162" y="678960"/>
                    </a:lnTo>
                    <a:cubicBezTo>
                      <a:pt x="50664" y="678960"/>
                      <a:pt x="0" y="628296"/>
                      <a:pt x="0" y="565798"/>
                    </a:cubicBezTo>
                    <a:lnTo>
                      <a:pt x="0" y="113162"/>
                    </a:lnTo>
                    <a:close/>
                  </a:path>
                </a:pathLst>
              </a:cu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spcFirstLastPara="0" vert="horz" wrap="square" lIns="338027" tIns="33144" rIns="338027" bIns="33144" numCol="1" spcCol="1270" anchor="ctr" anchorCtr="0">
                <a:noAutofit/>
              </a:bodyPr>
              <a:lstStyle/>
              <a:p>
                <a:pPr marL="0" lvl="0" indent="0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200" kern="1200" baseline="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linear secret-sharing</a:t>
                </a:r>
                <a:endParaRPr lang="en-US" sz="2200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8" name="Plus Sign 17">
              <a:extLst>
                <a:ext uri="{FF2B5EF4-FFF2-40B4-BE49-F238E27FC236}">
                  <a16:creationId xmlns:a16="http://schemas.microsoft.com/office/drawing/2014/main" id="{8EE35968-F604-4BF8-BA24-5E318666FB9A}"/>
                </a:ext>
              </a:extLst>
            </p:cNvPr>
            <p:cNvSpPr/>
            <p:nvPr/>
          </p:nvSpPr>
          <p:spPr bwMode="auto">
            <a:xfrm>
              <a:off x="1066800" y="3706690"/>
              <a:ext cx="304800" cy="288926"/>
            </a:xfrm>
            <a:prstGeom prst="mathPlus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1" name="Minus Sign 20">
              <a:extLst>
                <a:ext uri="{FF2B5EF4-FFF2-40B4-BE49-F238E27FC236}">
                  <a16:creationId xmlns:a16="http://schemas.microsoft.com/office/drawing/2014/main" id="{49AB1D57-07E0-4A7E-A5E2-2E51B8B85A1F}"/>
                </a:ext>
              </a:extLst>
            </p:cNvPr>
            <p:cNvSpPr/>
            <p:nvPr/>
          </p:nvSpPr>
          <p:spPr bwMode="auto">
            <a:xfrm>
              <a:off x="1066800" y="4008930"/>
              <a:ext cx="304800" cy="288926"/>
            </a:xfrm>
            <a:prstGeom prst="mathMinus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28A1A42-3E5A-45D6-811B-934749463BFF}"/>
              </a:ext>
            </a:extLst>
          </p:cNvPr>
          <p:cNvGrpSpPr/>
          <p:nvPr/>
        </p:nvGrpSpPr>
        <p:grpSpPr>
          <a:xfrm>
            <a:off x="334434" y="4627403"/>
            <a:ext cx="11523133" cy="1643580"/>
            <a:chOff x="334434" y="4627403"/>
            <a:chExt cx="11523133" cy="164358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60BDAE0-C04A-4E07-A7CA-9F5ACCC5832A}"/>
                </a:ext>
              </a:extLst>
            </p:cNvPr>
            <p:cNvGrpSpPr/>
            <p:nvPr/>
          </p:nvGrpSpPr>
          <p:grpSpPr>
            <a:xfrm>
              <a:off x="334434" y="4627403"/>
              <a:ext cx="11523133" cy="1643580"/>
              <a:chOff x="334434" y="4627403"/>
              <a:chExt cx="11523133" cy="1643580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30D4B95-F747-47FD-B166-3A973D24AC04}"/>
                  </a:ext>
                </a:extLst>
              </p:cNvPr>
              <p:cNvSpPr/>
              <p:nvPr/>
            </p:nvSpPr>
            <p:spPr>
              <a:xfrm>
                <a:off x="334434" y="4966883"/>
                <a:ext cx="11523133" cy="1304100"/>
              </a:xfrm>
              <a:custGeom>
                <a:avLst/>
                <a:gdLst>
                  <a:gd name="connsiteX0" fmla="*/ 0 w 11523133"/>
                  <a:gd name="connsiteY0" fmla="*/ 0 h 1304100"/>
                  <a:gd name="connsiteX1" fmla="*/ 11523133 w 11523133"/>
                  <a:gd name="connsiteY1" fmla="*/ 0 h 1304100"/>
                  <a:gd name="connsiteX2" fmla="*/ 11523133 w 11523133"/>
                  <a:gd name="connsiteY2" fmla="*/ 1304100 h 1304100"/>
                  <a:gd name="connsiteX3" fmla="*/ 0 w 11523133"/>
                  <a:gd name="connsiteY3" fmla="*/ 1304100 h 1304100"/>
                  <a:gd name="connsiteX4" fmla="*/ 0 w 11523133"/>
                  <a:gd name="connsiteY4" fmla="*/ 0 h 1304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23133" h="1304100">
                    <a:moveTo>
                      <a:pt x="0" y="0"/>
                    </a:moveTo>
                    <a:lnTo>
                      <a:pt x="11523133" y="0"/>
                    </a:lnTo>
                    <a:lnTo>
                      <a:pt x="11523133" y="1304100"/>
                    </a:lnTo>
                    <a:lnTo>
                      <a:pt x="0" y="1304100"/>
                    </a:lnTo>
                    <a:lnTo>
                      <a:pt x="0" y="0"/>
                    </a:lnTo>
                    <a:close/>
                  </a:path>
                </a:pathLst>
              </a:cu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97280" tIns="548640" rIns="0" bIns="228600" numCol="1" spcCol="1270" anchor="b" anchorCtr="0">
                <a:noAutofit/>
              </a:bodyPr>
              <a:lstStyle/>
              <a:p>
                <a:pPr marL="0" lvl="1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kern="1200" baseline="0" dirty="0"/>
                  <a:t>strong push recently due to applications in machine learning</a:t>
                </a:r>
                <a:endParaRPr lang="en-US" kern="1200" dirty="0"/>
              </a:p>
              <a:p>
                <a:pPr marL="0" lvl="1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kern="1200" baseline="0" dirty="0"/>
                  <a:t>might still take a long time to mature</a:t>
                </a:r>
                <a:endParaRPr lang="en-US" kern="1200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53605459-2609-4BDE-9F6D-A06F0CFA8780}"/>
                  </a:ext>
                </a:extLst>
              </p:cNvPr>
              <p:cNvSpPr/>
              <p:nvPr/>
            </p:nvSpPr>
            <p:spPr>
              <a:xfrm>
                <a:off x="910590" y="4627403"/>
                <a:ext cx="8066193" cy="678960"/>
              </a:xfrm>
              <a:custGeom>
                <a:avLst/>
                <a:gdLst>
                  <a:gd name="connsiteX0" fmla="*/ 0 w 8066193"/>
                  <a:gd name="connsiteY0" fmla="*/ 113162 h 678960"/>
                  <a:gd name="connsiteX1" fmla="*/ 113162 w 8066193"/>
                  <a:gd name="connsiteY1" fmla="*/ 0 h 678960"/>
                  <a:gd name="connsiteX2" fmla="*/ 7953031 w 8066193"/>
                  <a:gd name="connsiteY2" fmla="*/ 0 h 678960"/>
                  <a:gd name="connsiteX3" fmla="*/ 8066193 w 8066193"/>
                  <a:gd name="connsiteY3" fmla="*/ 113162 h 678960"/>
                  <a:gd name="connsiteX4" fmla="*/ 8066193 w 8066193"/>
                  <a:gd name="connsiteY4" fmla="*/ 565798 h 678960"/>
                  <a:gd name="connsiteX5" fmla="*/ 7953031 w 8066193"/>
                  <a:gd name="connsiteY5" fmla="*/ 678960 h 678960"/>
                  <a:gd name="connsiteX6" fmla="*/ 113162 w 8066193"/>
                  <a:gd name="connsiteY6" fmla="*/ 678960 h 678960"/>
                  <a:gd name="connsiteX7" fmla="*/ 0 w 8066193"/>
                  <a:gd name="connsiteY7" fmla="*/ 565798 h 678960"/>
                  <a:gd name="connsiteX8" fmla="*/ 0 w 8066193"/>
                  <a:gd name="connsiteY8" fmla="*/ 113162 h 678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66193" h="678960">
                    <a:moveTo>
                      <a:pt x="0" y="113162"/>
                    </a:moveTo>
                    <a:cubicBezTo>
                      <a:pt x="0" y="50664"/>
                      <a:pt x="50664" y="0"/>
                      <a:pt x="113162" y="0"/>
                    </a:cubicBezTo>
                    <a:lnTo>
                      <a:pt x="7953031" y="0"/>
                    </a:lnTo>
                    <a:cubicBezTo>
                      <a:pt x="8015529" y="0"/>
                      <a:pt x="8066193" y="50664"/>
                      <a:pt x="8066193" y="113162"/>
                    </a:cubicBezTo>
                    <a:lnTo>
                      <a:pt x="8066193" y="565798"/>
                    </a:lnTo>
                    <a:cubicBezTo>
                      <a:pt x="8066193" y="628296"/>
                      <a:pt x="8015529" y="678960"/>
                      <a:pt x="7953031" y="678960"/>
                    </a:cubicBezTo>
                    <a:lnTo>
                      <a:pt x="113162" y="678960"/>
                    </a:lnTo>
                    <a:cubicBezTo>
                      <a:pt x="50664" y="678960"/>
                      <a:pt x="0" y="628296"/>
                      <a:pt x="0" y="565798"/>
                    </a:cubicBezTo>
                    <a:lnTo>
                      <a:pt x="0" y="113162"/>
                    </a:lnTo>
                    <a:close/>
                  </a:path>
                </a:pathLst>
              </a:cu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spcFirstLastPara="0" vert="horz" wrap="square" lIns="338027" tIns="33144" rIns="338027" bIns="33144" numCol="1" spcCol="1270" anchor="ctr" anchorCtr="0">
                <a:noAutofit/>
              </a:bodyPr>
              <a:lstStyle/>
              <a:p>
                <a:pPr marL="0" lvl="0" indent="0" algn="l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200" kern="1200" baseline="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ully homomorphic encryption</a:t>
                </a:r>
                <a:endParaRPr lang="en-US" sz="2200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9" name="Plus Sign 18">
              <a:extLst>
                <a:ext uri="{FF2B5EF4-FFF2-40B4-BE49-F238E27FC236}">
                  <a16:creationId xmlns:a16="http://schemas.microsoft.com/office/drawing/2014/main" id="{F906DFA1-4053-44C6-94CB-210804E265BF}"/>
                </a:ext>
              </a:extLst>
            </p:cNvPr>
            <p:cNvSpPr/>
            <p:nvPr/>
          </p:nvSpPr>
          <p:spPr bwMode="auto">
            <a:xfrm>
              <a:off x="1066800" y="5479025"/>
              <a:ext cx="304800" cy="288926"/>
            </a:xfrm>
            <a:prstGeom prst="mathPlus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2" name="Minus Sign 21">
              <a:extLst>
                <a:ext uri="{FF2B5EF4-FFF2-40B4-BE49-F238E27FC236}">
                  <a16:creationId xmlns:a16="http://schemas.microsoft.com/office/drawing/2014/main" id="{3ADE5F83-7D79-4E1D-88A9-EE74AFC30228}"/>
                </a:ext>
              </a:extLst>
            </p:cNvPr>
            <p:cNvSpPr/>
            <p:nvPr/>
          </p:nvSpPr>
          <p:spPr bwMode="auto">
            <a:xfrm>
              <a:off x="1066800" y="5781265"/>
              <a:ext cx="304800" cy="288926"/>
            </a:xfrm>
            <a:prstGeom prst="mathMinus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31002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856BF9-3B90-48AD-B796-F7B23A797A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A856BF9-3B90-48AD-B796-F7B23A797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ernd Steinkopf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1"/>
              <a:t> 	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2201070" y="5452014"/>
            <a:ext cx="1293429" cy="133350"/>
          </a:xfrm>
        </p:spPr>
        <p:txBody>
          <a:bodyPr/>
          <a:lstStyle/>
          <a:p>
            <a:r>
              <a:rPr lang="en-US" dirty="0"/>
              <a:t>17132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tthes@in.tum.d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7620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FA9FC3-D102-4AF8-9F84-24169AFC4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Contracts in the Real Worl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FAF8F3-0247-4A5E-842F-7034701CA9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73C3F-FC06-49B1-9493-9DCE4C3A9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F7E23D-EC74-4667-A5B0-C76383813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6C9E22-1B76-46A8-871B-C48D8E59C6F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080899A-95DD-4BED-A23E-3245EE8D783E}"/>
              </a:ext>
            </a:extLst>
          </p:cNvPr>
          <p:cNvGrpSpPr/>
          <p:nvPr/>
        </p:nvGrpSpPr>
        <p:grpSpPr>
          <a:xfrm>
            <a:off x="6197599" y="980070"/>
            <a:ext cx="5659970" cy="5478625"/>
            <a:chOff x="6197599" y="980070"/>
            <a:chExt cx="5659970" cy="5478625"/>
          </a:xfrm>
        </p:grpSpPr>
        <p:sp>
          <p:nvSpPr>
            <p:cNvPr id="30" name="Content Placeholder 3">
              <a:extLst>
                <a:ext uri="{FF2B5EF4-FFF2-40B4-BE49-F238E27FC236}">
                  <a16:creationId xmlns:a16="http://schemas.microsoft.com/office/drawing/2014/main" id="{2C5102E3-405F-44FB-83DF-C9A6A7F715C7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0BF549D-1823-40C4-B544-DB84A5C18730}"/>
                </a:ext>
              </a:extLst>
            </p:cNvPr>
            <p:cNvSpPr/>
            <p:nvPr/>
          </p:nvSpPr>
          <p:spPr bwMode="auto">
            <a:xfrm>
              <a:off x="6197599" y="5319922"/>
              <a:ext cx="5659967" cy="11387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Blockchain Use Cases in the Energy Industry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Andoni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M.,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Robu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V., Flynn, D., Abram, S.,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Geach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D.,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Jenkins, D., McCallum, P., &amp; Peacock, A. (2019).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Blockchain technology in the energy sector: A systematic review of challenges and opportunities. In Renewable and Sustainable Energy Reviews (Vol. 100, pp. 143–174). https://doi.org/10.1016/j.rser.2018.10.014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231ADF3-2C86-4E34-8E91-2824D922A181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bg1">
                      <a:lumMod val="50000"/>
                    </a:schemeClr>
                  </a:solidFill>
                </a:rPr>
                <a:t>… especially in the Energy Industry.</a:t>
              </a: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F0F62B-01D6-4A6E-8246-B5BC48445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67048" y="1848041"/>
              <a:ext cx="5121068" cy="3224784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D1FB74C-428E-4757-AC22-F6FD4F2A0DD1}"/>
              </a:ext>
            </a:extLst>
          </p:cNvPr>
          <p:cNvGrpSpPr/>
          <p:nvPr/>
        </p:nvGrpSpPr>
        <p:grpSpPr>
          <a:xfrm>
            <a:off x="334429" y="980070"/>
            <a:ext cx="5659970" cy="5478625"/>
            <a:chOff x="6197599" y="980070"/>
            <a:chExt cx="5659970" cy="5478625"/>
          </a:xfrm>
        </p:grpSpPr>
        <p:sp>
          <p:nvSpPr>
            <p:cNvPr id="45" name="Content Placeholder 3">
              <a:extLst>
                <a:ext uri="{FF2B5EF4-FFF2-40B4-BE49-F238E27FC236}">
                  <a16:creationId xmlns:a16="http://schemas.microsoft.com/office/drawing/2014/main" id="{8AD981A6-B5C1-41F1-8412-0E8D01E18BEE}"/>
                </a:ext>
              </a:extLst>
            </p:cNvPr>
            <p:cNvSpPr txBox="1">
              <a:spLocks/>
            </p:cNvSpPr>
            <p:nvPr/>
          </p:nvSpPr>
          <p:spPr>
            <a:xfrm>
              <a:off x="6197602" y="981076"/>
              <a:ext cx="5659967" cy="54006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marL="1588" indent="-1588" algn="l" rtl="0" eaLnBrk="1" fontAlgn="base" hangingPunct="1">
                <a:spcBef>
                  <a:spcPct val="2000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+mn-lt"/>
                  <a:ea typeface="+mn-ea"/>
                  <a:cs typeface="Arial Unicode MS" pitchFamily="34" charset="-128"/>
                </a:defRPr>
              </a:lvl1pPr>
              <a:lvl2pPr marL="358775" indent="-2603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2pPr>
              <a:lvl3pPr marL="625475" indent="-176213" algn="l" defTabSz="803275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baseline="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3pPr>
              <a:lvl4pPr marL="982663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4pPr>
              <a:lvl5pPr marL="1257300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  <a:cs typeface="Arial Unicode MS" pitchFamily="34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en-US" kern="0" dirty="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98D70BD-3C19-4C59-80BB-28D98E6C353E}"/>
                </a:ext>
              </a:extLst>
            </p:cNvPr>
            <p:cNvSpPr/>
            <p:nvPr/>
          </p:nvSpPr>
          <p:spPr bwMode="auto">
            <a:xfrm>
              <a:off x="6197599" y="5319922"/>
              <a:ext cx="5659967" cy="11387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Number of Blockchain Studies by Industry (2017)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Casino, F.,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Dasaklis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T. K., &amp;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Patsakis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, C. (2019).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A systematic literature review of blockchain-based applications: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Current status, classification and open issues.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Telematics and Informatics, 36(November 2018), 55–81. https://doi.org/10.1016/j.tele.2018.11.006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0D7C17F-666F-45B2-B55D-26E50E7BFBBE}"/>
                </a:ext>
              </a:extLst>
            </p:cNvPr>
            <p:cNvSpPr/>
            <p:nvPr/>
          </p:nvSpPr>
          <p:spPr bwMode="auto">
            <a:xfrm>
              <a:off x="6197600" y="980070"/>
              <a:ext cx="5659967" cy="54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>
                  <a:solidFill>
                    <a:schemeClr val="bg1">
                      <a:lumMod val="50000"/>
                    </a:schemeClr>
                  </a:solidFill>
                </a:rPr>
                <a:t>Rise of Smart Contracts,…</a:t>
              </a: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69B40DDA-D743-4CFA-B028-34D7B9673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67048" y="2213681"/>
              <a:ext cx="5121068" cy="24935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569909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33B33-2777-446C-A6E5-8FFD6A2C9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aining Issues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847833-4C57-45ED-83DC-F9236F79FB23}"/>
              </a:ext>
            </a:extLst>
          </p:cNvPr>
          <p:cNvSpPr/>
          <p:nvPr/>
        </p:nvSpPr>
        <p:spPr>
          <a:xfrm>
            <a:off x="340396" y="2514601"/>
            <a:ext cx="3195868" cy="2333623"/>
          </a:xfrm>
          <a:custGeom>
            <a:avLst/>
            <a:gdLst>
              <a:gd name="connsiteX0" fmla="*/ 0 w 3195868"/>
              <a:gd name="connsiteY0" fmla="*/ 388945 h 2333623"/>
              <a:gd name="connsiteX1" fmla="*/ 388945 w 3195868"/>
              <a:gd name="connsiteY1" fmla="*/ 0 h 2333623"/>
              <a:gd name="connsiteX2" fmla="*/ 2806923 w 3195868"/>
              <a:gd name="connsiteY2" fmla="*/ 0 h 2333623"/>
              <a:gd name="connsiteX3" fmla="*/ 3195868 w 3195868"/>
              <a:gd name="connsiteY3" fmla="*/ 388945 h 2333623"/>
              <a:gd name="connsiteX4" fmla="*/ 3195868 w 3195868"/>
              <a:gd name="connsiteY4" fmla="*/ 1944678 h 2333623"/>
              <a:gd name="connsiteX5" fmla="*/ 2806923 w 3195868"/>
              <a:gd name="connsiteY5" fmla="*/ 2333623 h 2333623"/>
              <a:gd name="connsiteX6" fmla="*/ 388945 w 3195868"/>
              <a:gd name="connsiteY6" fmla="*/ 2333623 h 2333623"/>
              <a:gd name="connsiteX7" fmla="*/ 0 w 3195868"/>
              <a:gd name="connsiteY7" fmla="*/ 1944678 h 2333623"/>
              <a:gd name="connsiteX8" fmla="*/ 0 w 3195868"/>
              <a:gd name="connsiteY8" fmla="*/ 388945 h 233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95868" h="2333623">
                <a:moveTo>
                  <a:pt x="0" y="388945"/>
                </a:moveTo>
                <a:cubicBezTo>
                  <a:pt x="0" y="174137"/>
                  <a:pt x="174137" y="0"/>
                  <a:pt x="388945" y="0"/>
                </a:cubicBezTo>
                <a:lnTo>
                  <a:pt x="2806923" y="0"/>
                </a:lnTo>
                <a:cubicBezTo>
                  <a:pt x="3021731" y="0"/>
                  <a:pt x="3195868" y="174137"/>
                  <a:pt x="3195868" y="388945"/>
                </a:cubicBezTo>
                <a:lnTo>
                  <a:pt x="3195868" y="1944678"/>
                </a:lnTo>
                <a:cubicBezTo>
                  <a:pt x="3195868" y="2159486"/>
                  <a:pt x="3021731" y="2333623"/>
                  <a:pt x="2806923" y="2333623"/>
                </a:cubicBezTo>
                <a:lnTo>
                  <a:pt x="388945" y="2333623"/>
                </a:lnTo>
                <a:cubicBezTo>
                  <a:pt x="174137" y="2333623"/>
                  <a:pt x="0" y="2159486"/>
                  <a:pt x="0" y="1944678"/>
                </a:cubicBezTo>
                <a:lnTo>
                  <a:pt x="0" y="38894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alpha val="90000"/>
              <a:hueOff val="0"/>
              <a:satOff val="0"/>
              <a:lumOff val="0"/>
              <a:alphaOff val="0"/>
            </a:schemeClr>
          </a:fillRef>
          <a:effectRef idx="3">
            <a:schemeClr val="accent5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918" tIns="113918" rIns="113918" bIns="113918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 dirty="0"/>
              <a:t>What is preventing a more widespread adoption?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812E07A-7906-4DBC-805D-EAC057B7B8D3}"/>
              </a:ext>
            </a:extLst>
          </p:cNvPr>
          <p:cNvGrpSpPr/>
          <p:nvPr/>
        </p:nvGrpSpPr>
        <p:grpSpPr>
          <a:xfrm>
            <a:off x="3513249" y="2228613"/>
            <a:ext cx="4352457" cy="1452883"/>
            <a:chOff x="3513249" y="2228613"/>
            <a:chExt cx="4352457" cy="145288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BD517F5-0B54-4E7F-A1D5-8D3F52388F23}"/>
                </a:ext>
              </a:extLst>
            </p:cNvPr>
            <p:cNvSpPr/>
            <p:nvPr/>
          </p:nvSpPr>
          <p:spPr>
            <a:xfrm rot="19194603">
              <a:off x="3513249" y="3278285"/>
              <a:ext cx="1003833" cy="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1003833" y="0"/>
                  </a:lnTo>
                </a:path>
              </a:pathLst>
            </a:custGeom>
            <a:noFill/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8F04D62-BCC4-452A-B999-A0078A8D7532}"/>
                </a:ext>
              </a:extLst>
            </p:cNvPr>
            <p:cNvSpPr/>
            <p:nvPr/>
          </p:nvSpPr>
          <p:spPr>
            <a:xfrm>
              <a:off x="4478694" y="2228613"/>
              <a:ext cx="3387012" cy="1452883"/>
            </a:xfrm>
            <a:custGeom>
              <a:avLst/>
              <a:gdLst>
                <a:gd name="connsiteX0" fmla="*/ 0 w 2647086"/>
                <a:gd name="connsiteY0" fmla="*/ 0 h 1452883"/>
                <a:gd name="connsiteX1" fmla="*/ 2647086 w 2647086"/>
                <a:gd name="connsiteY1" fmla="*/ 0 h 1452883"/>
                <a:gd name="connsiteX2" fmla="*/ 2647086 w 2647086"/>
                <a:gd name="connsiteY2" fmla="*/ 1452883 h 1452883"/>
                <a:gd name="connsiteX3" fmla="*/ 0 w 2647086"/>
                <a:gd name="connsiteY3" fmla="*/ 1452883 h 1452883"/>
                <a:gd name="connsiteX4" fmla="*/ 0 w 2647086"/>
                <a:gd name="connsiteY4" fmla="*/ 0 h 145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7086" h="1452883">
                  <a:moveTo>
                    <a:pt x="0" y="0"/>
                  </a:moveTo>
                  <a:lnTo>
                    <a:pt x="2647086" y="0"/>
                  </a:lnTo>
                  <a:lnTo>
                    <a:pt x="2647086" y="1452883"/>
                  </a:lnTo>
                  <a:lnTo>
                    <a:pt x="0" y="1452883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28016" rIns="128016" bIns="128016" numCol="1" spcCol="1270" anchor="t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baseline="0" dirty="0"/>
                <a:t>Smart contracts are </a:t>
              </a:r>
              <a:r>
                <a:rPr lang="en-US" sz="1800" kern="1200" baseline="0" dirty="0">
                  <a:solidFill>
                    <a:srgbClr val="C00000"/>
                  </a:solidFill>
                </a:rPr>
                <a:t>slow</a:t>
              </a:r>
              <a:endParaRPr lang="en-US" sz="1800" kern="1200" dirty="0">
                <a:solidFill>
                  <a:srgbClr val="C00000"/>
                </a:solidFill>
              </a:endParaRPr>
            </a:p>
            <a:p>
              <a:pPr marL="0" lvl="1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400" kern="1200" baseline="0" dirty="0"/>
                <a:t>Many energy industry use cases rely on expensive computational work</a:t>
              </a:r>
              <a:endParaRPr lang="en-US" sz="1400" kern="1200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6662FA8-830F-4A15-946A-DF4455CD54B4}"/>
              </a:ext>
            </a:extLst>
          </p:cNvPr>
          <p:cNvGrpSpPr/>
          <p:nvPr/>
        </p:nvGrpSpPr>
        <p:grpSpPr>
          <a:xfrm>
            <a:off x="3513271" y="3681497"/>
            <a:ext cx="4277791" cy="1452715"/>
            <a:chOff x="3513271" y="3681497"/>
            <a:chExt cx="4277791" cy="1452715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42C43A4-6943-4947-84D7-77EA80327900}"/>
                </a:ext>
              </a:extLst>
            </p:cNvPr>
            <p:cNvSpPr/>
            <p:nvPr/>
          </p:nvSpPr>
          <p:spPr>
            <a:xfrm rot="2405171">
              <a:off x="3513271" y="4084588"/>
              <a:ext cx="1004028" cy="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1004028" y="0"/>
                  </a:lnTo>
                </a:path>
              </a:pathLst>
            </a:custGeom>
            <a:noFill/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97CEC4A-783A-492A-BBE9-2888A02EF933}"/>
                </a:ext>
              </a:extLst>
            </p:cNvPr>
            <p:cNvSpPr/>
            <p:nvPr/>
          </p:nvSpPr>
          <p:spPr>
            <a:xfrm>
              <a:off x="4575476" y="3681497"/>
              <a:ext cx="3215586" cy="1452715"/>
            </a:xfrm>
            <a:custGeom>
              <a:avLst/>
              <a:gdLst>
                <a:gd name="connsiteX0" fmla="*/ 0 w 2646750"/>
                <a:gd name="connsiteY0" fmla="*/ 0 h 1452715"/>
                <a:gd name="connsiteX1" fmla="*/ 2646750 w 2646750"/>
                <a:gd name="connsiteY1" fmla="*/ 0 h 1452715"/>
                <a:gd name="connsiteX2" fmla="*/ 2646750 w 2646750"/>
                <a:gd name="connsiteY2" fmla="*/ 1452715 h 1452715"/>
                <a:gd name="connsiteX3" fmla="*/ 0 w 2646750"/>
                <a:gd name="connsiteY3" fmla="*/ 1452715 h 1452715"/>
                <a:gd name="connsiteX4" fmla="*/ 0 w 2646750"/>
                <a:gd name="connsiteY4" fmla="*/ 0 h 145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6750" h="1452715">
                  <a:moveTo>
                    <a:pt x="0" y="0"/>
                  </a:moveTo>
                  <a:lnTo>
                    <a:pt x="2646750" y="0"/>
                  </a:lnTo>
                  <a:lnTo>
                    <a:pt x="2646750" y="1452715"/>
                  </a:lnTo>
                  <a:lnTo>
                    <a:pt x="0" y="145271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28016" rIns="128016" bIns="128016" numCol="1" spcCol="1270" anchor="t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baseline="0" dirty="0"/>
                <a:t>Smart contracts are </a:t>
              </a:r>
              <a:r>
                <a:rPr lang="en-US" sz="1800" kern="1200" baseline="0" dirty="0">
                  <a:solidFill>
                    <a:srgbClr val="C00000"/>
                  </a:solidFill>
                </a:rPr>
                <a:t>public</a:t>
              </a:r>
              <a:endParaRPr lang="en-US" sz="1800" kern="1200" dirty="0">
                <a:solidFill>
                  <a:srgbClr val="C00000"/>
                </a:solidFill>
              </a:endParaRPr>
            </a:p>
            <a:p>
              <a:pPr marL="0" lvl="1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400" kern="1200" baseline="0" dirty="0"/>
                <a:t>Energy-industrial use cases deal with highly sensitive user data </a:t>
              </a:r>
              <a:br>
                <a:rPr lang="en-US" sz="1400" kern="1200" baseline="0" dirty="0"/>
              </a:br>
              <a:r>
                <a:rPr lang="en-US" sz="1400" kern="1200" baseline="0" dirty="0"/>
                <a:t>(e.g. location, payments, etc.)</a:t>
              </a:r>
              <a:endParaRPr lang="en-US" sz="1400" kern="120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4ABFDFD-D9B1-4FB9-9DCF-DD22E5A4D146}"/>
              </a:ext>
            </a:extLst>
          </p:cNvPr>
          <p:cNvGrpSpPr/>
          <p:nvPr/>
        </p:nvGrpSpPr>
        <p:grpSpPr>
          <a:xfrm>
            <a:off x="7674700" y="2514601"/>
            <a:ext cx="4176903" cy="2333623"/>
            <a:chOff x="7674700" y="2514601"/>
            <a:chExt cx="4176903" cy="2333623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4725E1E-C190-43C1-9443-C4A12E836374}"/>
                </a:ext>
              </a:extLst>
            </p:cNvPr>
            <p:cNvSpPr/>
            <p:nvPr/>
          </p:nvSpPr>
          <p:spPr>
            <a:xfrm rot="13205397">
              <a:off x="7674917" y="3278285"/>
              <a:ext cx="1003833" cy="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1003833" y="0"/>
                  </a:lnTo>
                </a:path>
              </a:pathLst>
            </a:custGeom>
            <a:noFill/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0614510-38AA-4A51-AA58-EA23A2D3E8D0}"/>
                </a:ext>
              </a:extLst>
            </p:cNvPr>
            <p:cNvSpPr/>
            <p:nvPr/>
          </p:nvSpPr>
          <p:spPr>
            <a:xfrm rot="8394829">
              <a:off x="7674700" y="4084588"/>
              <a:ext cx="1004028" cy="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1004028" y="0"/>
                  </a:lnTo>
                </a:path>
              </a:pathLst>
            </a:custGeom>
            <a:noFill/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58CF79-FA49-4615-ABAE-B44DF3E510EB}"/>
                </a:ext>
              </a:extLst>
            </p:cNvPr>
            <p:cNvSpPr/>
            <p:nvPr/>
          </p:nvSpPr>
          <p:spPr>
            <a:xfrm>
              <a:off x="8655735" y="2514601"/>
              <a:ext cx="3195868" cy="2333623"/>
            </a:xfrm>
            <a:custGeom>
              <a:avLst/>
              <a:gdLst>
                <a:gd name="connsiteX0" fmla="*/ 0 w 3195868"/>
                <a:gd name="connsiteY0" fmla="*/ 388945 h 2333623"/>
                <a:gd name="connsiteX1" fmla="*/ 388945 w 3195868"/>
                <a:gd name="connsiteY1" fmla="*/ 0 h 2333623"/>
                <a:gd name="connsiteX2" fmla="*/ 2806923 w 3195868"/>
                <a:gd name="connsiteY2" fmla="*/ 0 h 2333623"/>
                <a:gd name="connsiteX3" fmla="*/ 3195868 w 3195868"/>
                <a:gd name="connsiteY3" fmla="*/ 388945 h 2333623"/>
                <a:gd name="connsiteX4" fmla="*/ 3195868 w 3195868"/>
                <a:gd name="connsiteY4" fmla="*/ 1944678 h 2333623"/>
                <a:gd name="connsiteX5" fmla="*/ 2806923 w 3195868"/>
                <a:gd name="connsiteY5" fmla="*/ 2333623 h 2333623"/>
                <a:gd name="connsiteX6" fmla="*/ 388945 w 3195868"/>
                <a:gd name="connsiteY6" fmla="*/ 2333623 h 2333623"/>
                <a:gd name="connsiteX7" fmla="*/ 0 w 3195868"/>
                <a:gd name="connsiteY7" fmla="*/ 1944678 h 2333623"/>
                <a:gd name="connsiteX8" fmla="*/ 0 w 3195868"/>
                <a:gd name="connsiteY8" fmla="*/ 388945 h 233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5868" h="2333623">
                  <a:moveTo>
                    <a:pt x="0" y="388945"/>
                  </a:moveTo>
                  <a:cubicBezTo>
                    <a:pt x="0" y="174137"/>
                    <a:pt x="174137" y="0"/>
                    <a:pt x="388945" y="0"/>
                  </a:cubicBezTo>
                  <a:lnTo>
                    <a:pt x="2806923" y="0"/>
                  </a:lnTo>
                  <a:cubicBezTo>
                    <a:pt x="3021731" y="0"/>
                    <a:pt x="3195868" y="174137"/>
                    <a:pt x="3195868" y="388945"/>
                  </a:cubicBezTo>
                  <a:lnTo>
                    <a:pt x="3195868" y="1944678"/>
                  </a:lnTo>
                  <a:cubicBezTo>
                    <a:pt x="3195868" y="2159486"/>
                    <a:pt x="3021731" y="2333623"/>
                    <a:pt x="2806923" y="2333623"/>
                  </a:cubicBezTo>
                  <a:lnTo>
                    <a:pt x="388945" y="2333623"/>
                  </a:lnTo>
                  <a:cubicBezTo>
                    <a:pt x="174137" y="2333623"/>
                    <a:pt x="0" y="2159486"/>
                    <a:pt x="0" y="1944678"/>
                  </a:cubicBezTo>
                  <a:lnTo>
                    <a:pt x="0" y="388945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fillRef>
            <a:effectRef idx="3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918" tIns="113918" rIns="113918" bIns="113918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We aim to fix this with privacy-preserving verifiable computation</a:t>
              </a: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EAE7F6-2331-43ED-B133-215B02696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88C33-87C6-472A-BB63-BF39FCFF2E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77C97-2229-41B9-BF0E-B2E604AA2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3869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EE8612-E930-4FDC-BF57-43520DB89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0F8907-AEDB-43DB-A9AB-9F305173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4028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026FA-0C37-4680-84D9-E51832F26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of Thesis Focu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8F362B3-927A-47B2-865B-B25835082AE1}"/>
              </a:ext>
            </a:extLst>
          </p:cNvPr>
          <p:cNvGrpSpPr/>
          <p:nvPr/>
        </p:nvGrpSpPr>
        <p:grpSpPr>
          <a:xfrm>
            <a:off x="832498" y="2940994"/>
            <a:ext cx="10515601" cy="2738286"/>
            <a:chOff x="832498" y="2940994"/>
            <a:chExt cx="10515601" cy="2738286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01DA014-5035-4B12-96FE-F4079C4C0F62}"/>
                </a:ext>
              </a:extLst>
            </p:cNvPr>
            <p:cNvSpPr/>
            <p:nvPr/>
          </p:nvSpPr>
          <p:spPr>
            <a:xfrm>
              <a:off x="832498" y="4023281"/>
              <a:ext cx="10515601" cy="1655999"/>
            </a:xfrm>
            <a:custGeom>
              <a:avLst/>
              <a:gdLst>
                <a:gd name="connsiteX0" fmla="*/ 0 w 10515601"/>
                <a:gd name="connsiteY0" fmla="*/ 0 h 1689794"/>
                <a:gd name="connsiteX1" fmla="*/ 10515601 w 10515601"/>
                <a:gd name="connsiteY1" fmla="*/ 0 h 1689794"/>
                <a:gd name="connsiteX2" fmla="*/ 10515601 w 10515601"/>
                <a:gd name="connsiteY2" fmla="*/ 1689794 h 1689794"/>
                <a:gd name="connsiteX3" fmla="*/ 0 w 10515601"/>
                <a:gd name="connsiteY3" fmla="*/ 1689794 h 1689794"/>
                <a:gd name="connsiteX4" fmla="*/ 0 w 10515601"/>
                <a:gd name="connsiteY4" fmla="*/ 0 h 1689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15601" h="1689794">
                  <a:moveTo>
                    <a:pt x="0" y="0"/>
                  </a:moveTo>
                  <a:lnTo>
                    <a:pt x="10515601" y="0"/>
                  </a:lnTo>
                  <a:lnTo>
                    <a:pt x="10515601" y="1689794"/>
                  </a:lnTo>
                  <a:lnTo>
                    <a:pt x="0" y="1689794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6464" tIns="156464" rIns="156464" bIns="933769" numCol="1" spcCol="1270" anchor="ctr" anchorCtr="0">
              <a:noAutofit/>
            </a:bodyPr>
            <a:lstStyle/>
            <a:p>
              <a:pPr marL="0" lvl="0" indent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i="1" kern="1200" dirty="0"/>
                <a:t>Analysis and Implementation of Verifiable Computation Techniques </a:t>
              </a:r>
              <a:br>
                <a:rPr lang="en-US" sz="2200" i="1" kern="1200" dirty="0"/>
              </a:br>
              <a:r>
                <a:rPr lang="en-US" sz="2200" i="1" kern="1200" dirty="0"/>
                <a:t>for Energy Blockchain Applications</a:t>
              </a:r>
            </a:p>
          </p:txBody>
        </p:sp>
        <p:sp>
          <p:nvSpPr>
            <p:cNvPr id="19" name="Arrow: Down 18">
              <a:extLst>
                <a:ext uri="{FF2B5EF4-FFF2-40B4-BE49-F238E27FC236}">
                  <a16:creationId xmlns:a16="http://schemas.microsoft.com/office/drawing/2014/main" id="{1C567ACA-4F98-4A87-BDF9-C5CF17895128}"/>
                </a:ext>
              </a:extLst>
            </p:cNvPr>
            <p:cNvSpPr/>
            <p:nvPr/>
          </p:nvSpPr>
          <p:spPr bwMode="auto">
            <a:xfrm>
              <a:off x="5594998" y="2940994"/>
              <a:ext cx="990600" cy="1143000"/>
            </a:xfrm>
            <a:prstGeom prst="downArrow">
              <a:avLst/>
            </a:prstGeom>
            <a:solidFill>
              <a:srgbClr val="0070C9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114C935-666C-4E98-9CF4-DF98E3752EC6}"/>
                </a:ext>
              </a:extLst>
            </p:cNvPr>
            <p:cNvSpPr/>
            <p:nvPr/>
          </p:nvSpPr>
          <p:spPr>
            <a:xfrm>
              <a:off x="889000" y="4901975"/>
              <a:ext cx="2572398" cy="705869"/>
            </a:xfrm>
            <a:custGeom>
              <a:avLst/>
              <a:gdLst>
                <a:gd name="connsiteX0" fmla="*/ 0 w 2628900"/>
                <a:gd name="connsiteY0" fmla="*/ 0 h 777305"/>
                <a:gd name="connsiteX1" fmla="*/ 2628900 w 2628900"/>
                <a:gd name="connsiteY1" fmla="*/ 0 h 777305"/>
                <a:gd name="connsiteX2" fmla="*/ 2628900 w 2628900"/>
                <a:gd name="connsiteY2" fmla="*/ 777305 h 777305"/>
                <a:gd name="connsiteX3" fmla="*/ 0 w 2628900"/>
                <a:gd name="connsiteY3" fmla="*/ 777305 h 777305"/>
                <a:gd name="connsiteX4" fmla="*/ 0 w 2628900"/>
                <a:gd name="connsiteY4" fmla="*/ 0 h 777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8900" h="777305">
                  <a:moveTo>
                    <a:pt x="0" y="0"/>
                  </a:moveTo>
                  <a:lnTo>
                    <a:pt x="2628900" y="0"/>
                  </a:lnTo>
                  <a:lnTo>
                    <a:pt x="2628900" y="777305"/>
                  </a:lnTo>
                  <a:lnTo>
                    <a:pt x="0" y="777305"/>
                  </a:lnTo>
                  <a:lnTo>
                    <a:pt x="0" y="0"/>
                  </a:lnTo>
                  <a:close/>
                </a:path>
              </a:pathLst>
            </a:custGeom>
            <a:ln w="28575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5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25400" rIns="142240" bIns="2540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/>
                <a:t>throughout writing</a:t>
              </a:r>
            </a:p>
          </p:txBody>
        </p: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E0425AC-4A6D-4D17-9889-18FFB72F9108}"/>
              </a:ext>
            </a:extLst>
          </p:cNvPr>
          <p:cNvSpPr/>
          <p:nvPr/>
        </p:nvSpPr>
        <p:spPr>
          <a:xfrm>
            <a:off x="3461398" y="4901975"/>
            <a:ext cx="2628900" cy="705869"/>
          </a:xfrm>
          <a:custGeom>
            <a:avLst/>
            <a:gdLst>
              <a:gd name="connsiteX0" fmla="*/ 0 w 2628900"/>
              <a:gd name="connsiteY0" fmla="*/ 0 h 777305"/>
              <a:gd name="connsiteX1" fmla="*/ 2628900 w 2628900"/>
              <a:gd name="connsiteY1" fmla="*/ 0 h 777305"/>
              <a:gd name="connsiteX2" fmla="*/ 2628900 w 2628900"/>
              <a:gd name="connsiteY2" fmla="*/ 777305 h 777305"/>
              <a:gd name="connsiteX3" fmla="*/ 0 w 2628900"/>
              <a:gd name="connsiteY3" fmla="*/ 777305 h 777305"/>
              <a:gd name="connsiteX4" fmla="*/ 0 w 2628900"/>
              <a:gd name="connsiteY4" fmla="*/ 0 h 77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305">
                <a:moveTo>
                  <a:pt x="0" y="0"/>
                </a:moveTo>
                <a:lnTo>
                  <a:pt x="2628900" y="0"/>
                </a:lnTo>
                <a:lnTo>
                  <a:pt x="2628900" y="777305"/>
                </a:lnTo>
                <a:lnTo>
                  <a:pt x="0" y="777305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research-driven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285938D-A175-49C9-8650-D03C04F2C65F}"/>
              </a:ext>
            </a:extLst>
          </p:cNvPr>
          <p:cNvSpPr/>
          <p:nvPr/>
        </p:nvSpPr>
        <p:spPr>
          <a:xfrm>
            <a:off x="6090298" y="4901975"/>
            <a:ext cx="2628900" cy="705869"/>
          </a:xfrm>
          <a:custGeom>
            <a:avLst/>
            <a:gdLst>
              <a:gd name="connsiteX0" fmla="*/ 0 w 2628900"/>
              <a:gd name="connsiteY0" fmla="*/ 0 h 777305"/>
              <a:gd name="connsiteX1" fmla="*/ 2628900 w 2628900"/>
              <a:gd name="connsiteY1" fmla="*/ 0 h 777305"/>
              <a:gd name="connsiteX2" fmla="*/ 2628900 w 2628900"/>
              <a:gd name="connsiteY2" fmla="*/ 777305 h 777305"/>
              <a:gd name="connsiteX3" fmla="*/ 0 w 2628900"/>
              <a:gd name="connsiteY3" fmla="*/ 777305 h 777305"/>
              <a:gd name="connsiteX4" fmla="*/ 0 w 2628900"/>
              <a:gd name="connsiteY4" fmla="*/ 0 h 77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305">
                <a:moveTo>
                  <a:pt x="0" y="0"/>
                </a:moveTo>
                <a:lnTo>
                  <a:pt x="2628900" y="0"/>
                </a:lnTo>
                <a:lnTo>
                  <a:pt x="2628900" y="777305"/>
                </a:lnTo>
                <a:lnTo>
                  <a:pt x="0" y="777305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all computation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2E99DFE-0FEA-4DC6-BEFF-9C3EC7E2483A}"/>
              </a:ext>
            </a:extLst>
          </p:cNvPr>
          <p:cNvSpPr/>
          <p:nvPr/>
        </p:nvSpPr>
        <p:spPr>
          <a:xfrm>
            <a:off x="8719198" y="4901975"/>
            <a:ext cx="2582215" cy="705869"/>
          </a:xfrm>
          <a:custGeom>
            <a:avLst/>
            <a:gdLst>
              <a:gd name="connsiteX0" fmla="*/ 0 w 2628900"/>
              <a:gd name="connsiteY0" fmla="*/ 0 h 777305"/>
              <a:gd name="connsiteX1" fmla="*/ 2628900 w 2628900"/>
              <a:gd name="connsiteY1" fmla="*/ 0 h 777305"/>
              <a:gd name="connsiteX2" fmla="*/ 2628900 w 2628900"/>
              <a:gd name="connsiteY2" fmla="*/ 777305 h 777305"/>
              <a:gd name="connsiteX3" fmla="*/ 0 w 2628900"/>
              <a:gd name="connsiteY3" fmla="*/ 777305 h 777305"/>
              <a:gd name="connsiteX4" fmla="*/ 0 w 2628900"/>
              <a:gd name="connsiteY4" fmla="*/ 0 h 77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305">
                <a:moveTo>
                  <a:pt x="0" y="0"/>
                </a:moveTo>
                <a:lnTo>
                  <a:pt x="2628900" y="0"/>
                </a:lnTo>
                <a:lnTo>
                  <a:pt x="2628900" y="777305"/>
                </a:lnTo>
                <a:lnTo>
                  <a:pt x="0" y="777305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privacy firs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E789FB-3D0B-4192-9490-2FADFA6CAF04}"/>
              </a:ext>
            </a:extLst>
          </p:cNvPr>
          <p:cNvSpPr/>
          <p:nvPr/>
        </p:nvSpPr>
        <p:spPr>
          <a:xfrm>
            <a:off x="832498" y="1449723"/>
            <a:ext cx="10515601" cy="1682222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156465" rIns="156464" bIns="1005840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i="1" kern="1200" dirty="0"/>
              <a:t>Blockchain-based Decentralized Optimization </a:t>
            </a:r>
            <a:br>
              <a:rPr lang="en-US" sz="2200" i="1" kern="1200" dirty="0"/>
            </a:br>
            <a:r>
              <a:rPr lang="en-US" sz="2200" i="1" kern="1200" dirty="0"/>
              <a:t>for Energy Industry Applications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154D226-9373-4B9E-8896-DA88B05FE80A}"/>
              </a:ext>
            </a:extLst>
          </p:cNvPr>
          <p:cNvSpPr/>
          <p:nvPr/>
        </p:nvSpPr>
        <p:spPr>
          <a:xfrm>
            <a:off x="889000" y="2361939"/>
            <a:ext cx="2572398" cy="705657"/>
          </a:xfrm>
          <a:custGeom>
            <a:avLst/>
            <a:gdLst>
              <a:gd name="connsiteX0" fmla="*/ 0 w 2628900"/>
              <a:gd name="connsiteY0" fmla="*/ 0 h 777072"/>
              <a:gd name="connsiteX1" fmla="*/ 2628900 w 2628900"/>
              <a:gd name="connsiteY1" fmla="*/ 0 h 777072"/>
              <a:gd name="connsiteX2" fmla="*/ 2628900 w 2628900"/>
              <a:gd name="connsiteY2" fmla="*/ 777072 h 777072"/>
              <a:gd name="connsiteX3" fmla="*/ 0 w 2628900"/>
              <a:gd name="connsiteY3" fmla="*/ 777072 h 777072"/>
              <a:gd name="connsiteX4" fmla="*/ 0 w 2628900"/>
              <a:gd name="connsiteY4" fmla="*/ 0 h 77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072">
                <a:moveTo>
                  <a:pt x="0" y="0"/>
                </a:moveTo>
                <a:lnTo>
                  <a:pt x="2628900" y="0"/>
                </a:lnTo>
                <a:lnTo>
                  <a:pt x="2628900" y="777072"/>
                </a:lnTo>
                <a:lnTo>
                  <a:pt x="0" y="777072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first draf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8F104DF-38A3-4F84-80C0-44BC0542A362}"/>
              </a:ext>
            </a:extLst>
          </p:cNvPr>
          <p:cNvSpPr/>
          <p:nvPr/>
        </p:nvSpPr>
        <p:spPr>
          <a:xfrm>
            <a:off x="3461398" y="2361939"/>
            <a:ext cx="2628900" cy="705657"/>
          </a:xfrm>
          <a:custGeom>
            <a:avLst/>
            <a:gdLst>
              <a:gd name="connsiteX0" fmla="*/ 0 w 2628900"/>
              <a:gd name="connsiteY0" fmla="*/ 0 h 777072"/>
              <a:gd name="connsiteX1" fmla="*/ 2628900 w 2628900"/>
              <a:gd name="connsiteY1" fmla="*/ 0 h 777072"/>
              <a:gd name="connsiteX2" fmla="*/ 2628900 w 2628900"/>
              <a:gd name="connsiteY2" fmla="*/ 777072 h 777072"/>
              <a:gd name="connsiteX3" fmla="*/ 0 w 2628900"/>
              <a:gd name="connsiteY3" fmla="*/ 777072 h 777072"/>
              <a:gd name="connsiteX4" fmla="*/ 0 w 2628900"/>
              <a:gd name="connsiteY4" fmla="*/ 0 h 77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072">
                <a:moveTo>
                  <a:pt x="0" y="0"/>
                </a:moveTo>
                <a:lnTo>
                  <a:pt x="2628900" y="0"/>
                </a:lnTo>
                <a:lnTo>
                  <a:pt x="2628900" y="777072"/>
                </a:lnTo>
                <a:lnTo>
                  <a:pt x="0" y="777072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project-driven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0F52E77-01E1-4DC0-BDA4-6F6C5ACA3175}"/>
              </a:ext>
            </a:extLst>
          </p:cNvPr>
          <p:cNvSpPr/>
          <p:nvPr/>
        </p:nvSpPr>
        <p:spPr>
          <a:xfrm>
            <a:off x="6090298" y="2361939"/>
            <a:ext cx="2628900" cy="705657"/>
          </a:xfrm>
          <a:custGeom>
            <a:avLst/>
            <a:gdLst>
              <a:gd name="connsiteX0" fmla="*/ 0 w 2628900"/>
              <a:gd name="connsiteY0" fmla="*/ 0 h 777072"/>
              <a:gd name="connsiteX1" fmla="*/ 2628900 w 2628900"/>
              <a:gd name="connsiteY1" fmla="*/ 0 h 777072"/>
              <a:gd name="connsiteX2" fmla="*/ 2628900 w 2628900"/>
              <a:gd name="connsiteY2" fmla="*/ 777072 h 777072"/>
              <a:gd name="connsiteX3" fmla="*/ 0 w 2628900"/>
              <a:gd name="connsiteY3" fmla="*/ 777072 h 777072"/>
              <a:gd name="connsiteX4" fmla="*/ 0 w 2628900"/>
              <a:gd name="connsiteY4" fmla="*/ 0 h 77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072">
                <a:moveTo>
                  <a:pt x="0" y="0"/>
                </a:moveTo>
                <a:lnTo>
                  <a:pt x="2628900" y="0"/>
                </a:lnTo>
                <a:lnTo>
                  <a:pt x="2628900" y="777072"/>
                </a:lnTo>
                <a:lnTo>
                  <a:pt x="0" y="777072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optimizations only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6A0F089-FF3F-4A20-9290-778ECADAE755}"/>
              </a:ext>
            </a:extLst>
          </p:cNvPr>
          <p:cNvSpPr/>
          <p:nvPr/>
        </p:nvSpPr>
        <p:spPr>
          <a:xfrm>
            <a:off x="8719198" y="2361939"/>
            <a:ext cx="2582215" cy="705657"/>
          </a:xfrm>
          <a:custGeom>
            <a:avLst/>
            <a:gdLst>
              <a:gd name="connsiteX0" fmla="*/ 0 w 2628900"/>
              <a:gd name="connsiteY0" fmla="*/ 0 h 777072"/>
              <a:gd name="connsiteX1" fmla="*/ 2628900 w 2628900"/>
              <a:gd name="connsiteY1" fmla="*/ 0 h 777072"/>
              <a:gd name="connsiteX2" fmla="*/ 2628900 w 2628900"/>
              <a:gd name="connsiteY2" fmla="*/ 777072 h 777072"/>
              <a:gd name="connsiteX3" fmla="*/ 0 w 2628900"/>
              <a:gd name="connsiteY3" fmla="*/ 777072 h 777072"/>
              <a:gd name="connsiteX4" fmla="*/ 0 w 2628900"/>
              <a:gd name="connsiteY4" fmla="*/ 0 h 77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8900" h="777072">
                <a:moveTo>
                  <a:pt x="0" y="0"/>
                </a:moveTo>
                <a:lnTo>
                  <a:pt x="2628900" y="0"/>
                </a:lnTo>
                <a:lnTo>
                  <a:pt x="2628900" y="777072"/>
                </a:lnTo>
                <a:lnTo>
                  <a:pt x="0" y="777072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2240" tIns="25400" rIns="142240" bIns="254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/>
              <a:t>privacy as afterthough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4DCE1-772E-4C09-9E6E-5C800DE5E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6DC94F-2422-4887-82E9-BD363BDA3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C76C51-2D85-42A9-BA2C-17D4317C9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4800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97740E-4501-4D34-8953-EF1520C2E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2A9C1B-8C59-49C8-BB8A-808080DB3075}"/>
              </a:ext>
            </a:extLst>
          </p:cNvPr>
          <p:cNvGrpSpPr/>
          <p:nvPr/>
        </p:nvGrpSpPr>
        <p:grpSpPr>
          <a:xfrm>
            <a:off x="1520757" y="2404672"/>
            <a:ext cx="8213458" cy="1102559"/>
            <a:chOff x="1520757" y="2404672"/>
            <a:chExt cx="8213458" cy="1102559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99B6EF3-1161-4481-BD96-BE85BD17843C}"/>
                </a:ext>
              </a:extLst>
            </p:cNvPr>
            <p:cNvSpPr/>
            <p:nvPr/>
          </p:nvSpPr>
          <p:spPr>
            <a:xfrm>
              <a:off x="2072036" y="2404672"/>
              <a:ext cx="7662179" cy="1102559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1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How can the use of blockchain technology increase the security and reliability of energy economic processes?</a:t>
              </a:r>
            </a:p>
          </p:txBody>
        </p:sp>
        <p:sp>
          <p:nvSpPr>
            <p:cNvPr id="10" name="Oval 9" descr="Lock">
              <a:extLst>
                <a:ext uri="{FF2B5EF4-FFF2-40B4-BE49-F238E27FC236}">
                  <a16:creationId xmlns:a16="http://schemas.microsoft.com/office/drawing/2014/main" id="{969E2AB5-F893-4FA0-8A9D-ADF20B1CBCF0}"/>
                </a:ext>
              </a:extLst>
            </p:cNvPr>
            <p:cNvSpPr/>
            <p:nvPr/>
          </p:nvSpPr>
          <p:spPr>
            <a:xfrm>
              <a:off x="1520757" y="2404673"/>
              <a:ext cx="1102557" cy="1102557"/>
            </a:xfrm>
            <a:prstGeom prst="ellipse">
              <a:avLst/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4623EA-FF0C-40F7-98C3-0328747E19CF}"/>
              </a:ext>
            </a:extLst>
          </p:cNvPr>
          <p:cNvGrpSpPr/>
          <p:nvPr/>
        </p:nvGrpSpPr>
        <p:grpSpPr>
          <a:xfrm>
            <a:off x="1520757" y="3836352"/>
            <a:ext cx="8213458" cy="1102559"/>
            <a:chOff x="1520757" y="3836352"/>
            <a:chExt cx="8213458" cy="1102559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80A4DDE-52AD-4097-8DAE-76779CA2D171}"/>
                </a:ext>
              </a:extLst>
            </p:cNvPr>
            <p:cNvSpPr/>
            <p:nvPr/>
          </p:nvSpPr>
          <p:spPr>
            <a:xfrm>
              <a:off x="2072036" y="3836352"/>
              <a:ext cx="7662179" cy="1102559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1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How do different blockchain-based optimization techniques compare in terms of performance, reliability and protection of private data?</a:t>
              </a:r>
            </a:p>
          </p:txBody>
        </p:sp>
        <p:sp>
          <p:nvSpPr>
            <p:cNvPr id="12" name="Oval 11" descr="Gauge">
              <a:extLst>
                <a:ext uri="{FF2B5EF4-FFF2-40B4-BE49-F238E27FC236}">
                  <a16:creationId xmlns:a16="http://schemas.microsoft.com/office/drawing/2014/main" id="{3E024CF3-A770-41EC-BEB6-CD4AE64BDD77}"/>
                </a:ext>
              </a:extLst>
            </p:cNvPr>
            <p:cNvSpPr/>
            <p:nvPr/>
          </p:nvSpPr>
          <p:spPr>
            <a:xfrm>
              <a:off x="1520757" y="3836353"/>
              <a:ext cx="1102557" cy="1102557"/>
            </a:xfrm>
            <a:prstGeom prst="ellipse">
              <a:avLst/>
            </a:prstGeom>
            <a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C4510A3-DF9F-4F9C-B86C-0DAD3E9D788A}"/>
              </a:ext>
            </a:extLst>
          </p:cNvPr>
          <p:cNvGrpSpPr/>
          <p:nvPr/>
        </p:nvGrpSpPr>
        <p:grpSpPr>
          <a:xfrm>
            <a:off x="1520757" y="5268032"/>
            <a:ext cx="8213458" cy="1102558"/>
            <a:chOff x="1520757" y="5268032"/>
            <a:chExt cx="8213458" cy="1102558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6C850D4-F9C7-4217-8D9D-2D9BF73EA046}"/>
                </a:ext>
              </a:extLst>
            </p:cNvPr>
            <p:cNvSpPr/>
            <p:nvPr/>
          </p:nvSpPr>
          <p:spPr>
            <a:xfrm>
              <a:off x="2072036" y="5268032"/>
              <a:ext cx="7662179" cy="1102558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0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Which measures are required to prototypically implement a functioning infrastructure for solving blockchain-aided optimizations?</a:t>
              </a:r>
            </a:p>
          </p:txBody>
        </p:sp>
        <p:sp>
          <p:nvSpPr>
            <p:cNvPr id="14" name="Oval 13" descr="Web design">
              <a:extLst>
                <a:ext uri="{FF2B5EF4-FFF2-40B4-BE49-F238E27FC236}">
                  <a16:creationId xmlns:a16="http://schemas.microsoft.com/office/drawing/2014/main" id="{CD3FB424-5DF8-4922-93AC-01402453D7F5}"/>
                </a:ext>
              </a:extLst>
            </p:cNvPr>
            <p:cNvSpPr/>
            <p:nvPr/>
          </p:nvSpPr>
          <p:spPr>
            <a:xfrm>
              <a:off x="1520757" y="5268033"/>
              <a:ext cx="1102557" cy="1102557"/>
            </a:xfrm>
            <a:prstGeom prst="ellipse">
              <a:avLst/>
            </a:prstGeom>
            <a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9F294C6-E3EE-465C-8FAA-B860330DB7FF}"/>
              </a:ext>
            </a:extLst>
          </p:cNvPr>
          <p:cNvGrpSpPr/>
          <p:nvPr/>
        </p:nvGrpSpPr>
        <p:grpSpPr>
          <a:xfrm>
            <a:off x="1520757" y="972992"/>
            <a:ext cx="8213458" cy="1102559"/>
            <a:chOff x="1520757" y="972992"/>
            <a:chExt cx="8213458" cy="110255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DFDEC9E-5D1C-4978-86F9-D2DD578A04C7}"/>
                </a:ext>
              </a:extLst>
            </p:cNvPr>
            <p:cNvSpPr/>
            <p:nvPr/>
          </p:nvSpPr>
          <p:spPr>
            <a:xfrm>
              <a:off x="2072036" y="972992"/>
              <a:ext cx="7662179" cy="1102559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1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What are the requirements and challenges of common optimization problems in the Energy Industry?</a:t>
              </a:r>
            </a:p>
          </p:txBody>
        </p:sp>
        <p:sp>
          <p:nvSpPr>
            <p:cNvPr id="8" name="Oval 7" descr="Lightning bolt">
              <a:extLst>
                <a:ext uri="{FF2B5EF4-FFF2-40B4-BE49-F238E27FC236}">
                  <a16:creationId xmlns:a16="http://schemas.microsoft.com/office/drawing/2014/main" id="{97D0D765-2662-46DA-A932-AE7CE5A9C8B7}"/>
                </a:ext>
              </a:extLst>
            </p:cNvPr>
            <p:cNvSpPr/>
            <p:nvPr/>
          </p:nvSpPr>
          <p:spPr>
            <a:xfrm>
              <a:off x="1520757" y="972993"/>
              <a:ext cx="1102557" cy="1102557"/>
            </a:xfrm>
            <a:prstGeom prst="ellipse">
              <a:avLst/>
            </a:prstGeom>
            <a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3F7E8C-5CEA-4CEA-8E6A-13A9E51E6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ernd Steinkopf | Analysis and Implementation of Verifiable Computation Techniques for Energy Blockchain Applications | 14.12.2020</a:t>
            </a:r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83670A1-BFC7-42E0-A8AA-21971BF475F3}"/>
              </a:ext>
            </a:extLst>
          </p:cNvPr>
          <p:cNvGrpSpPr/>
          <p:nvPr/>
        </p:nvGrpSpPr>
        <p:grpSpPr>
          <a:xfrm>
            <a:off x="1519202" y="972991"/>
            <a:ext cx="8213458" cy="1102559"/>
            <a:chOff x="1520757" y="972992"/>
            <a:chExt cx="8213458" cy="1102559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E5340FE-9D81-47CE-9E8B-95B7DEBA8146}"/>
                </a:ext>
              </a:extLst>
            </p:cNvPr>
            <p:cNvSpPr/>
            <p:nvPr/>
          </p:nvSpPr>
          <p:spPr>
            <a:xfrm>
              <a:off x="2072036" y="972992"/>
              <a:ext cx="7662179" cy="1102559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1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What are the requirements and challenges of common </a:t>
              </a:r>
              <a:r>
                <a:rPr lang="en-US" sz="2300" kern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blockchain</a:t>
              </a:r>
              <a:r>
                <a:rPr lang="en-US" sz="2300" kern="1200" dirty="0"/>
                <a:t> </a:t>
              </a:r>
              <a:r>
                <a:rPr lang="en-US" sz="2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applications</a:t>
              </a:r>
              <a:r>
                <a:rPr lang="en-US" sz="2300" kern="1200" dirty="0"/>
                <a:t> in the energy industry?</a:t>
              </a:r>
            </a:p>
          </p:txBody>
        </p:sp>
        <p:sp>
          <p:nvSpPr>
            <p:cNvPr id="26" name="Oval 25" descr="Lightning bolt">
              <a:extLst>
                <a:ext uri="{FF2B5EF4-FFF2-40B4-BE49-F238E27FC236}">
                  <a16:creationId xmlns:a16="http://schemas.microsoft.com/office/drawing/2014/main" id="{54586798-D00B-4E88-BCA9-ED0EAEB7930E}"/>
                </a:ext>
              </a:extLst>
            </p:cNvPr>
            <p:cNvSpPr/>
            <p:nvPr/>
          </p:nvSpPr>
          <p:spPr>
            <a:xfrm>
              <a:off x="1520757" y="972993"/>
              <a:ext cx="1102557" cy="1102557"/>
            </a:xfrm>
            <a:prstGeom prst="ellipse">
              <a:avLst/>
            </a:prstGeom>
            <a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E5F3A5A-B959-4611-B974-6559A16AF0CF}"/>
              </a:ext>
            </a:extLst>
          </p:cNvPr>
          <p:cNvGrpSpPr/>
          <p:nvPr/>
        </p:nvGrpSpPr>
        <p:grpSpPr>
          <a:xfrm>
            <a:off x="1520757" y="2404671"/>
            <a:ext cx="8213458" cy="1102559"/>
            <a:chOff x="1520757" y="2404672"/>
            <a:chExt cx="8213458" cy="1102559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48AA5CB-5A3D-4B44-8B0E-BA523E17B7C2}"/>
                </a:ext>
              </a:extLst>
            </p:cNvPr>
            <p:cNvSpPr/>
            <p:nvPr/>
          </p:nvSpPr>
          <p:spPr>
            <a:xfrm>
              <a:off x="2072036" y="2404672"/>
              <a:ext cx="7662179" cy="1102559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1" numCol="1" spcCol="1270" anchor="ctr" anchorCtr="0">
              <a:noAutofit/>
            </a:bodyPr>
            <a:lstStyle/>
            <a:p>
              <a:pPr marL="0" marR="0" lvl="0" indent="0" algn="ctr" defTabSz="1022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can the use of </a:t>
              </a:r>
              <a:r>
                <a:rPr lang="en-US" sz="2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</a:t>
              </a:r>
              <a:r>
                <a:rPr kumimoji="0" lang="en-US" sz="2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rease the security and reliability of </a:t>
              </a:r>
              <a:r>
                <a:rPr lang="en-US" sz="2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energy-related blockchain applications</a:t>
              </a:r>
              <a:r>
                <a:rPr kumimoji="0" lang="en-US" sz="23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29" name="Oval 28" descr="Lock">
              <a:extLst>
                <a:ext uri="{FF2B5EF4-FFF2-40B4-BE49-F238E27FC236}">
                  <a16:creationId xmlns:a16="http://schemas.microsoft.com/office/drawing/2014/main" id="{407BAC24-DCA0-4589-A58F-B450B17372B6}"/>
                </a:ext>
              </a:extLst>
            </p:cNvPr>
            <p:cNvSpPr/>
            <p:nvPr/>
          </p:nvSpPr>
          <p:spPr>
            <a:xfrm>
              <a:off x="1520757" y="2404673"/>
              <a:ext cx="1102557" cy="1102557"/>
            </a:xfrm>
            <a:prstGeom prst="ellipse">
              <a:avLst/>
            </a:prstGeom>
            <a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0C5E71A-5810-45C3-9904-DDA84B88C714}"/>
              </a:ext>
            </a:extLst>
          </p:cNvPr>
          <p:cNvGrpSpPr/>
          <p:nvPr/>
        </p:nvGrpSpPr>
        <p:grpSpPr>
          <a:xfrm>
            <a:off x="1520757" y="3836351"/>
            <a:ext cx="8213458" cy="1102559"/>
            <a:chOff x="1520757" y="3836352"/>
            <a:chExt cx="8213458" cy="1102559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565088B-D508-44F9-A892-4CF7883EA518}"/>
                </a:ext>
              </a:extLst>
            </p:cNvPr>
            <p:cNvSpPr/>
            <p:nvPr/>
          </p:nvSpPr>
          <p:spPr>
            <a:xfrm>
              <a:off x="2072036" y="3836352"/>
              <a:ext cx="7662179" cy="1102559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1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How do different blockchain-based </a:t>
              </a:r>
              <a:r>
                <a:rPr lang="en-US" sz="2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ing techniques</a:t>
              </a:r>
              <a:r>
                <a:rPr lang="en-US" sz="2300" kern="1200" dirty="0"/>
                <a:t> compare in terms of </a:t>
              </a:r>
              <a:r>
                <a:rPr lang="en-US" sz="2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performance, security and usability</a:t>
              </a:r>
              <a:r>
                <a:rPr lang="en-US" sz="2300" kern="1200" dirty="0"/>
                <a:t>?</a:t>
              </a:r>
            </a:p>
          </p:txBody>
        </p:sp>
        <p:sp>
          <p:nvSpPr>
            <p:cNvPr id="32" name="Oval 31" descr="Gauge">
              <a:extLst>
                <a:ext uri="{FF2B5EF4-FFF2-40B4-BE49-F238E27FC236}">
                  <a16:creationId xmlns:a16="http://schemas.microsoft.com/office/drawing/2014/main" id="{65D2631A-9E77-4264-B553-A7CC419945CE}"/>
                </a:ext>
              </a:extLst>
            </p:cNvPr>
            <p:cNvSpPr/>
            <p:nvPr/>
          </p:nvSpPr>
          <p:spPr>
            <a:xfrm>
              <a:off x="1520757" y="3836353"/>
              <a:ext cx="1102557" cy="1102557"/>
            </a:xfrm>
            <a:prstGeom prst="ellipse">
              <a:avLst/>
            </a:prstGeom>
            <a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6B71076-9DB4-4915-929E-88C1CC1EA698}"/>
              </a:ext>
            </a:extLst>
          </p:cNvPr>
          <p:cNvGrpSpPr/>
          <p:nvPr/>
        </p:nvGrpSpPr>
        <p:grpSpPr>
          <a:xfrm>
            <a:off x="1520757" y="5269589"/>
            <a:ext cx="8213458" cy="1102558"/>
            <a:chOff x="1520757" y="5268032"/>
            <a:chExt cx="8213458" cy="110255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0837C10-19E0-444A-A38F-40486BEA93E4}"/>
                </a:ext>
              </a:extLst>
            </p:cNvPr>
            <p:cNvSpPr/>
            <p:nvPr/>
          </p:nvSpPr>
          <p:spPr>
            <a:xfrm>
              <a:off x="2072036" y="5268032"/>
              <a:ext cx="7662179" cy="1102558"/>
            </a:xfrm>
            <a:custGeom>
              <a:avLst/>
              <a:gdLst>
                <a:gd name="connsiteX0" fmla="*/ 0 w 7662179"/>
                <a:gd name="connsiteY0" fmla="*/ 0 h 1102557"/>
                <a:gd name="connsiteX1" fmla="*/ 7110901 w 7662179"/>
                <a:gd name="connsiteY1" fmla="*/ 0 h 1102557"/>
                <a:gd name="connsiteX2" fmla="*/ 7662179 w 7662179"/>
                <a:gd name="connsiteY2" fmla="*/ 551279 h 1102557"/>
                <a:gd name="connsiteX3" fmla="*/ 7110901 w 7662179"/>
                <a:gd name="connsiteY3" fmla="*/ 1102557 h 1102557"/>
                <a:gd name="connsiteX4" fmla="*/ 0 w 7662179"/>
                <a:gd name="connsiteY4" fmla="*/ 1102557 h 1102557"/>
                <a:gd name="connsiteX5" fmla="*/ 0 w 7662179"/>
                <a:gd name="connsiteY5" fmla="*/ 0 h 110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62179" h="1102557">
                  <a:moveTo>
                    <a:pt x="7662179" y="1102556"/>
                  </a:moveTo>
                  <a:lnTo>
                    <a:pt x="551278" y="1102556"/>
                  </a:lnTo>
                  <a:lnTo>
                    <a:pt x="0" y="551278"/>
                  </a:lnTo>
                  <a:lnTo>
                    <a:pt x="551278" y="1"/>
                  </a:lnTo>
                  <a:lnTo>
                    <a:pt x="7662179" y="1"/>
                  </a:lnTo>
                  <a:lnTo>
                    <a:pt x="7662179" y="110255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1836" tIns="87631" rIns="163576" bIns="87630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300" kern="1200" dirty="0"/>
                <a:t>Which measures are required to prototypically implement a functioning infrastructure for solving blockchain-aided </a:t>
              </a:r>
              <a:r>
                <a:rPr lang="en-US" sz="2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verifiable computations</a:t>
              </a:r>
              <a:r>
                <a:rPr lang="en-US" sz="2300" kern="1200" dirty="0"/>
                <a:t>?</a:t>
              </a:r>
            </a:p>
          </p:txBody>
        </p:sp>
        <p:sp>
          <p:nvSpPr>
            <p:cNvPr id="35" name="Oval 34" descr="Web design">
              <a:extLst>
                <a:ext uri="{FF2B5EF4-FFF2-40B4-BE49-F238E27FC236}">
                  <a16:creationId xmlns:a16="http://schemas.microsoft.com/office/drawing/2014/main" id="{FDB91E4A-6244-4223-B6BC-18CCE64D0CE9}"/>
                </a:ext>
              </a:extLst>
            </p:cNvPr>
            <p:cNvSpPr/>
            <p:nvPr/>
          </p:nvSpPr>
          <p:spPr>
            <a:xfrm>
              <a:off x="1520757" y="5268033"/>
              <a:ext cx="1102557" cy="1102557"/>
            </a:xfrm>
            <a:prstGeom prst="ellipse">
              <a:avLst/>
            </a:prstGeom>
            <a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BF0866F0-F5A9-4222-9772-66859D733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© sebis</a:t>
            </a:r>
            <a:endParaRPr lang="en-US" noProof="0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DCFD886-AFAD-4174-A880-C4C705AE6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4FF76D-8657-43F1-929B-F6D2FAB2741A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01186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ock Arc 8">
            <a:extLst>
              <a:ext uri="{FF2B5EF4-FFF2-40B4-BE49-F238E27FC236}">
                <a16:creationId xmlns:a16="http://schemas.microsoft.com/office/drawing/2014/main" id="{772A5CAF-8611-47CE-B916-328B7255A0F3}"/>
              </a:ext>
            </a:extLst>
          </p:cNvPr>
          <p:cNvSpPr/>
          <p:nvPr/>
        </p:nvSpPr>
        <p:spPr>
          <a:xfrm>
            <a:off x="-4609866" y="722992"/>
            <a:ext cx="5886730" cy="5886730"/>
          </a:xfrm>
          <a:prstGeom prst="blockArc">
            <a:avLst>
              <a:gd name="adj1" fmla="val 18900000"/>
              <a:gd name="adj2" fmla="val 2700000"/>
              <a:gd name="adj3" fmla="val 367"/>
            </a:avLst>
          </a:prstGeom>
        </p:spPr>
        <p:style>
          <a:lnRef idx="2">
            <a:schemeClr val="accent5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70FD4D5-163C-4336-BA8F-437F303A33EB}"/>
              </a:ext>
            </a:extLst>
          </p:cNvPr>
          <p:cNvSpPr/>
          <p:nvPr/>
        </p:nvSpPr>
        <p:spPr>
          <a:xfrm>
            <a:off x="685129" y="1710599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oti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F769CE7-14A4-4B77-9966-529688FFB2D0}"/>
              </a:ext>
            </a:extLst>
          </p:cNvPr>
          <p:cNvSpPr/>
          <p:nvPr/>
        </p:nvSpPr>
        <p:spPr>
          <a:xfrm>
            <a:off x="397453" y="1653063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34D02B2-8F18-4DB7-9DC2-F4D71CCD0FE9}"/>
              </a:ext>
            </a:extLst>
          </p:cNvPr>
          <p:cNvSpPr/>
          <p:nvPr/>
        </p:nvSpPr>
        <p:spPr>
          <a:xfrm>
            <a:off x="1063742" y="2400933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earch Questio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C27D23E-05F5-472C-BC47-E8327B19C6CE}"/>
              </a:ext>
            </a:extLst>
          </p:cNvPr>
          <p:cNvSpPr/>
          <p:nvPr/>
        </p:nvSpPr>
        <p:spPr>
          <a:xfrm>
            <a:off x="776066" y="23433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2B3A1E-8BE1-4FCA-8494-D05A5A0364F3}"/>
              </a:ext>
            </a:extLst>
          </p:cNvPr>
          <p:cNvSpPr/>
          <p:nvPr/>
        </p:nvSpPr>
        <p:spPr>
          <a:xfrm>
            <a:off x="1236872" y="3091267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Methodolog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24D9578-8121-445D-9449-B4891AF28DC2}"/>
              </a:ext>
            </a:extLst>
          </p:cNvPr>
          <p:cNvSpPr/>
          <p:nvPr/>
        </p:nvSpPr>
        <p:spPr>
          <a:xfrm>
            <a:off x="949196" y="3033732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BEE6C9-7303-4D80-9AE6-E7BC30CC46DF}"/>
              </a:ext>
            </a:extLst>
          </p:cNvPr>
          <p:cNvSpPr/>
          <p:nvPr/>
        </p:nvSpPr>
        <p:spPr>
          <a:xfrm>
            <a:off x="1236872" y="3781164"/>
            <a:ext cx="10560644" cy="460281"/>
          </a:xfrm>
          <a:custGeom>
            <a:avLst/>
            <a:gdLst>
              <a:gd name="connsiteX0" fmla="*/ 0 w 10560644"/>
              <a:gd name="connsiteY0" fmla="*/ 0 h 460281"/>
              <a:gd name="connsiteX1" fmla="*/ 10560644 w 10560644"/>
              <a:gd name="connsiteY1" fmla="*/ 0 h 460281"/>
              <a:gd name="connsiteX2" fmla="*/ 10560644 w 10560644"/>
              <a:gd name="connsiteY2" fmla="*/ 460281 h 460281"/>
              <a:gd name="connsiteX3" fmla="*/ 0 w 10560644"/>
              <a:gd name="connsiteY3" fmla="*/ 460281 h 460281"/>
              <a:gd name="connsiteX4" fmla="*/ 0 w 1056064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0644" h="460281">
                <a:moveTo>
                  <a:pt x="0" y="0"/>
                </a:moveTo>
                <a:lnTo>
                  <a:pt x="10560644" y="0"/>
                </a:lnTo>
                <a:lnTo>
                  <a:pt x="1056064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Results, Part 1 – Literature Analysi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21C1DA-00E9-4954-85DA-12FFB3A50D7A}"/>
              </a:ext>
            </a:extLst>
          </p:cNvPr>
          <p:cNvSpPr/>
          <p:nvPr/>
        </p:nvSpPr>
        <p:spPr>
          <a:xfrm>
            <a:off x="949196" y="3723629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8F855DD-6FCD-4DD3-85F1-CFC9F8B4F46B}"/>
              </a:ext>
            </a:extLst>
          </p:cNvPr>
          <p:cNvSpPr/>
          <p:nvPr/>
        </p:nvSpPr>
        <p:spPr>
          <a:xfrm>
            <a:off x="1063742" y="4471499"/>
            <a:ext cx="10733774" cy="460281"/>
          </a:xfrm>
          <a:custGeom>
            <a:avLst/>
            <a:gdLst>
              <a:gd name="connsiteX0" fmla="*/ 0 w 10733774"/>
              <a:gd name="connsiteY0" fmla="*/ 0 h 460281"/>
              <a:gd name="connsiteX1" fmla="*/ 10733774 w 10733774"/>
              <a:gd name="connsiteY1" fmla="*/ 0 h 460281"/>
              <a:gd name="connsiteX2" fmla="*/ 10733774 w 10733774"/>
              <a:gd name="connsiteY2" fmla="*/ 460281 h 460281"/>
              <a:gd name="connsiteX3" fmla="*/ 0 w 10733774"/>
              <a:gd name="connsiteY3" fmla="*/ 460281 h 460281"/>
              <a:gd name="connsiteX4" fmla="*/ 0 w 10733774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33774" h="460281">
                <a:moveTo>
                  <a:pt x="0" y="0"/>
                </a:moveTo>
                <a:lnTo>
                  <a:pt x="10733774" y="0"/>
                </a:lnTo>
                <a:lnTo>
                  <a:pt x="10733774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Results, Part 2 – Prototype Implementati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6F30A4-5021-4BBA-87E9-180B243ADD7D}"/>
              </a:ext>
            </a:extLst>
          </p:cNvPr>
          <p:cNvSpPr/>
          <p:nvPr/>
        </p:nvSpPr>
        <p:spPr>
          <a:xfrm>
            <a:off x="776066" y="4413964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0B93C4E-4D0E-4914-B741-C5F3A0FAFB50}"/>
              </a:ext>
            </a:extLst>
          </p:cNvPr>
          <p:cNvSpPr/>
          <p:nvPr/>
        </p:nvSpPr>
        <p:spPr>
          <a:xfrm>
            <a:off x="685129" y="5161833"/>
            <a:ext cx="11112387" cy="460281"/>
          </a:xfrm>
          <a:custGeom>
            <a:avLst/>
            <a:gdLst>
              <a:gd name="connsiteX0" fmla="*/ 0 w 11112387"/>
              <a:gd name="connsiteY0" fmla="*/ 0 h 460281"/>
              <a:gd name="connsiteX1" fmla="*/ 11112387 w 11112387"/>
              <a:gd name="connsiteY1" fmla="*/ 0 h 460281"/>
              <a:gd name="connsiteX2" fmla="*/ 11112387 w 11112387"/>
              <a:gd name="connsiteY2" fmla="*/ 460281 h 460281"/>
              <a:gd name="connsiteX3" fmla="*/ 0 w 11112387"/>
              <a:gd name="connsiteY3" fmla="*/ 460281 h 460281"/>
              <a:gd name="connsiteX4" fmla="*/ 0 w 11112387"/>
              <a:gd name="connsiteY4" fmla="*/ 0 h 4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12387" h="460281">
                <a:moveTo>
                  <a:pt x="0" y="0"/>
                </a:moveTo>
                <a:lnTo>
                  <a:pt x="11112387" y="0"/>
                </a:lnTo>
                <a:lnTo>
                  <a:pt x="11112387" y="460281"/>
                </a:lnTo>
                <a:lnTo>
                  <a:pt x="0" y="46028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348" tIns="63500" rIns="63500" bIns="63500" numCol="1" spcCol="1270" anchor="ctr" anchorCtr="0">
            <a:noAutofit/>
          </a:bodyPr>
          <a:lstStyle/>
          <a:p>
            <a:pPr marL="0" lvl="0" indent="0" algn="l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Conclusi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EEECDC4-0049-46F3-A8BA-8E6F2B38335B}"/>
              </a:ext>
            </a:extLst>
          </p:cNvPr>
          <p:cNvSpPr/>
          <p:nvPr/>
        </p:nvSpPr>
        <p:spPr>
          <a:xfrm>
            <a:off x="397453" y="5104298"/>
            <a:ext cx="575351" cy="575351"/>
          </a:xfrm>
          <a:prstGeom prst="ellipse">
            <a:avLst/>
          </a:prstGeom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4A24F0-C6E2-45BE-AEBD-DE4F1404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39342C-D6C3-4B89-9783-5DC2A21F0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ernd Steinkopf | Analysis and Implementation of Verifiable Computation Techniques for Energy Blockchain Applications | 14.12.2020</a:t>
            </a:r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B7BFD8-4566-41ED-9A83-6558E0D2F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sebis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0D8FD0-BB20-4BDF-8542-DE529F903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144155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sebis 2013 2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ang_final.pptx" id="{E44F45C6-EA1D-4831-9B3F-32669E18AE24}" vid="{056B333C-AB5B-4271-9655-D774D4F68322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4</TotalTime>
  <Words>3047</Words>
  <Application>Microsoft Office PowerPoint</Application>
  <PresentationFormat>Widescreen</PresentationFormat>
  <Paragraphs>541</Paragraphs>
  <Slides>3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Arial Unicode MS</vt:lpstr>
      <vt:lpstr>Helvetica Neue</vt:lpstr>
      <vt:lpstr>TUM Neue Helvetica 75 Bold</vt:lpstr>
      <vt:lpstr>Wingdings</vt:lpstr>
      <vt:lpstr>Slides sebis 2013 2</vt:lpstr>
      <vt:lpstr>think-cell Folie</vt:lpstr>
      <vt:lpstr>Analysis and Implementation  of Verifiable Computation Techniques  for Energy Blockchain Applications</vt:lpstr>
      <vt:lpstr>Contents</vt:lpstr>
      <vt:lpstr>Contents</vt:lpstr>
      <vt:lpstr>Smart Contracts in the Real World</vt:lpstr>
      <vt:lpstr>Remaining Issues</vt:lpstr>
      <vt:lpstr>Contents</vt:lpstr>
      <vt:lpstr>Change of Thesis Focus</vt:lpstr>
      <vt:lpstr>Research Questions</vt:lpstr>
      <vt:lpstr>Contents</vt:lpstr>
      <vt:lpstr>Methodology</vt:lpstr>
      <vt:lpstr>Contents</vt:lpstr>
      <vt:lpstr>Taxonomy of Verifiable Computing Techniques</vt:lpstr>
      <vt:lpstr>Trusted Oracles</vt:lpstr>
      <vt:lpstr>Trusted Oracles</vt:lpstr>
      <vt:lpstr>Zero-Knowledge Proofs</vt:lpstr>
      <vt:lpstr>Zero-Knowledge Proofs</vt:lpstr>
      <vt:lpstr>Multi-Party Computation</vt:lpstr>
      <vt:lpstr>Evaluation Framework</vt:lpstr>
      <vt:lpstr>Results</vt:lpstr>
      <vt:lpstr>Methodology - Revisited</vt:lpstr>
      <vt:lpstr>Contents</vt:lpstr>
      <vt:lpstr>Choice of Use Case</vt:lpstr>
      <vt:lpstr>Detour: Foundations of Mathematical Optimization</vt:lpstr>
      <vt:lpstr>Choice of Technology</vt:lpstr>
      <vt:lpstr>The ZoKrates Platform</vt:lpstr>
      <vt:lpstr>Results – Performance Measurements</vt:lpstr>
      <vt:lpstr>Results – Sensitivity Analysis</vt:lpstr>
      <vt:lpstr>Methodology - Revisited</vt:lpstr>
      <vt:lpstr>Contents</vt:lpstr>
      <vt:lpstr>Limitations</vt:lpstr>
      <vt:lpstr>Outloo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is and Implementation  of Verifiable Computation Techniques  for Energy Blockchain Applications</dc:title>
  <dc:creator>Bernd Steinkopf</dc:creator>
  <cp:lastModifiedBy>Bernd Steinkopf</cp:lastModifiedBy>
  <cp:revision>252</cp:revision>
  <dcterms:created xsi:type="dcterms:W3CDTF">2020-12-12T10:39:31Z</dcterms:created>
  <dcterms:modified xsi:type="dcterms:W3CDTF">2020-12-14T09:17:46Z</dcterms:modified>
</cp:coreProperties>
</file>